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  <p:sldMasterId id="2147483655" r:id="rId2"/>
    <p:sldMasterId id="2147483666" r:id="rId3"/>
  </p:sldMasterIdLst>
  <p:notesMasterIdLst>
    <p:notesMasterId r:id="rId21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4" r:id="rId11"/>
    <p:sldId id="265" r:id="rId12"/>
    <p:sldId id="267" r:id="rId13"/>
    <p:sldId id="268" r:id="rId14"/>
    <p:sldId id="269" r:id="rId15"/>
    <p:sldId id="270" r:id="rId16"/>
    <p:sldId id="271" r:id="rId17"/>
    <p:sldId id="275" r:id="rId18"/>
    <p:sldId id="273" r:id="rId19"/>
    <p:sldId id="274" r:id="rId20"/>
  </p:sldIdLst>
  <p:sldSz cx="12192000" cy="68580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26" roundtripDataSignature="AMtx7miyb63cPX+wwWS1c/9EIO//0tfe2A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fvarsson Jonas, Med gem USÖ" initials="HJMgU" lastIdx="3" clrIdx="0">
    <p:extLst>
      <p:ext uri="{19B8F6BF-5375-455C-9EA6-DF929625EA0E}">
        <p15:presenceInfo xmlns:p15="http://schemas.microsoft.com/office/powerpoint/2012/main" userId="S-1-5-21-57989841-796845957-725345543-2840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A37E3777-ACA3-4444-AD64-6A46D24F54C1}">
  <a:tblStyle styleId="{A37E3777-ACA3-4444-AD64-6A46D24F54C1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6AC591AA-4DA2-4241-9A1F-89D6460AA7AC}" styleName="Table_1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>
                  <a:alpha val="0"/>
                </a:srgbClr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FFFFFF">
              <a:alpha val="0"/>
            </a:srgbClr>
          </a:solidFill>
        </a:fill>
      </a:tcStyle>
    </a:wholeTbl>
    <a:band1H>
      <a:tcTxStyle/>
      <a:tcStyle>
        <a:tcBdr>
          <a:top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bottom>
        </a:tcBdr>
      </a:tcStyle>
    </a:band1H>
    <a:band2H>
      <a:tcTxStyle/>
      <a:tcStyle>
        <a:tcBdr/>
      </a:tcStyle>
    </a:band2H>
    <a:band1V>
      <a:tcTxStyle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1V>
    <a:band2V>
      <a:tcTxStyle/>
      <a:tcStyle>
        <a:tcBdr>
          <a:lef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right>
        </a:tcBdr>
      </a:tcStyle>
    </a:band2V>
    <a:lastCol>
      <a:tcTxStyle b="on" i="off"/>
      <a:tcStyle>
        <a:tcBdr/>
      </a:tcStyle>
    </a:lastCol>
    <a:firstCol>
      <a:tcTxStyle b="on" i="off"/>
      <a:tcStyle>
        <a:tcBdr/>
      </a:tcStyle>
    </a:firstCol>
    <a:lastRow>
      <a:tcTxStyle b="on" i="off"/>
      <a:tcStyle>
        <a:tcBdr>
          <a:top>
            <a:ln w="508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a:top>
        </a:tcBdr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0964" autoAdjust="0"/>
  </p:normalViewPr>
  <p:slideViewPr>
    <p:cSldViewPr snapToGrid="0">
      <p:cViewPr varScale="1">
        <p:scale>
          <a:sx n="47" d="100"/>
          <a:sy n="47" d="100"/>
        </p:scale>
        <p:origin x="660" y="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customschemas.google.com/relationships/presentationmetadata" Target="metadata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4" name="Google Shape;124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71450" lvl="0" indent="-952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 dirty="0"/>
          </a:p>
        </p:txBody>
      </p:sp>
      <p:sp>
        <p:nvSpPr>
          <p:cNvPr id="125" name="Google Shape;125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sv-SE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" name="Google Shape;237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8" name="Google Shape;238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39" name="Google Shape;239;p1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sv-SE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Google Shape;246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7" name="Google Shape;247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" name="Google Shape;256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7" name="Google Shape;257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72" name="Google Shape;272;p1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73" name="Google Shape;273;p1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sv-SE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82" name="Google Shape;282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5</a:t>
            </a:fld>
            <a:endParaRPr lang="sv-SE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615873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" name="Google Shape;299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00" name="Google Shape;30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10" name="Google Shape;310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Google Shape;134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5" name="Google Shape;13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4" name="Google Shape;144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" name="Google Shape;151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52" name="Google Shape;152;p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53" name="Google Shape;153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sv-SE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62" name="Google Shape;162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0" name="Google Shape;170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79" name="Google Shape;179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" name="Google Shape;205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6" name="Google Shape;206;p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7" name="Google Shape;207;p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sv-SE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1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7" name="Google Shape;217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npassad layout">
  <p:cSld name="Anpassad layou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21"/>
          <p:cNvSpPr txBox="1"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Anpassad layout">
  <p:cSld name="2_Anpassad layout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9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7161696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9" name="Google Shape;89;p29"/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0" name="Google Shape;90;p29"/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29"/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92" name="Google Shape;92;p29"/>
            <p:cNvCxnSpPr/>
            <p:nvPr/>
          </p:nvCxnSpPr>
          <p:spPr>
            <a:xfrm>
              <a:off x="10339620" y="6277410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93" name="Google Shape;93;p29"/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4" name="Google Shape;94;p29"/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5" name="Google Shape;95;p29"/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96" name="Google Shape;96;p29"/>
            <p:cNvCxnSpPr/>
            <p:nvPr/>
          </p:nvCxnSpPr>
          <p:spPr>
            <a:xfrm>
              <a:off x="10339620" y="6277410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Anpassad layout">
  <p:cSld name="3_Anpassad layout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3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285B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99" name="Google Shape;99;p30"/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00" name="Google Shape;100;p30"/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" name="Google Shape;101;p30"/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02" name="Google Shape;102;p30"/>
            <p:cNvCxnSpPr/>
            <p:nvPr/>
          </p:nvCxnSpPr>
          <p:spPr>
            <a:xfrm>
              <a:off x="10339620" y="6277410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103" name="Google Shape;103;p30"/>
          <p:cNvSpPr txBox="1">
            <a:spLocks noGrp="1"/>
          </p:cNvSpPr>
          <p:nvPr>
            <p:ph type="body" idx="1"/>
          </p:nvPr>
        </p:nvSpPr>
        <p:spPr>
          <a:xfrm>
            <a:off x="1141413" y="1574800"/>
            <a:ext cx="9144000" cy="4186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>
                <a:solidFill>
                  <a:schemeClr val="lt1"/>
                </a:solidFill>
              </a:defRPr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>
                <a:solidFill>
                  <a:schemeClr val="lt1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" name="Google Shape;104;p30"/>
          <p:cNvSpPr txBox="1">
            <a:spLocks noGrp="1"/>
          </p:cNvSpPr>
          <p:nvPr>
            <p:ph type="body" idx="2"/>
          </p:nvPr>
        </p:nvSpPr>
        <p:spPr>
          <a:xfrm>
            <a:off x="1141413" y="761565"/>
            <a:ext cx="9144000" cy="66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3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285B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06" name="Google Shape;106;p30"/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07" name="Google Shape;107;p30"/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" name="Google Shape;108;p30"/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09" name="Google Shape;109;p30"/>
            <p:cNvCxnSpPr/>
            <p:nvPr/>
          </p:nvCxnSpPr>
          <p:spPr>
            <a:xfrm>
              <a:off x="10339620" y="6277410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Rubrikbild">
  <p:cSld name="1_Rubrikbild">
    <p:spTree>
      <p:nvGrpSpPr>
        <p:cNvPr id="1" name="Shape 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Google Shape;111;p31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6000"/>
              <a:buFont typeface="Calibri"/>
              <a:buNone/>
              <a:defRPr sz="6000">
                <a:solidFill>
                  <a:srgbClr val="59595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" name="Google Shape;112;p31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7D7A"/>
              </a:buClr>
              <a:buSzPts val="2400"/>
              <a:buFont typeface="Calibri"/>
              <a:buNone/>
              <a:defRPr sz="2400">
                <a:solidFill>
                  <a:srgbClr val="377D7A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vsnittsrubrik" type="secHead">
  <p:cSld name="SECTION_HEADER"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32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32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Font typeface="Calibri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116" name="Google Shape;116;p3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7" name="Google Shape;117;p32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8" name="Google Shape;118;p32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def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Rubrikbild" type="title">
  <p:cSld name="TITLE"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33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95959"/>
              </a:buClr>
              <a:buSzPts val="6000"/>
              <a:buFont typeface="Calibri"/>
              <a:buNone/>
              <a:defRPr sz="6000">
                <a:solidFill>
                  <a:srgbClr val="59595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" name="Google Shape;121;p33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77D7A"/>
              </a:buClr>
              <a:buSzPts val="2400"/>
              <a:buFont typeface="Calibri"/>
              <a:buNone/>
              <a:defRPr sz="2400">
                <a:solidFill>
                  <a:srgbClr val="377D7A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138814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538947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607256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093329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394297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ubrikbild">
  <p:cSld name="Rubrikbild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22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2"/>
          <p:cNvSpPr txBox="1">
            <a:spLocks noGrp="1"/>
          </p:cNvSpPr>
          <p:nvPr>
            <p:ph type="body" idx="1"/>
          </p:nvPr>
        </p:nvSpPr>
        <p:spPr>
          <a:xfrm>
            <a:off x="989013" y="1422400"/>
            <a:ext cx="9144000" cy="4186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344831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6602760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07421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2453736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1325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npassad layout">
  <p:cSld name="1_Anpassad layout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34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4"/>
          <p:cNvSpPr>
            <a:spLocks noGrp="1"/>
          </p:cNvSpPr>
          <p:nvPr>
            <p:ph type="chart" idx="2"/>
          </p:nvPr>
        </p:nvSpPr>
        <p:spPr>
          <a:xfrm>
            <a:off x="988742" y="1397000"/>
            <a:ext cx="9144000" cy="47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Anpassad layout">
  <p:cSld name="2_Anpassad layout">
    <p:spTree>
      <p:nvGrpSpPr>
        <p:cNvPr id="1" name="Shape 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Google Shape;30;p35"/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7161696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1" name="Google Shape;31;p35"/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32" name="Google Shape;32;p35"/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" name="Google Shape;33;p35"/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4" name="Google Shape;34;p35"/>
            <p:cNvCxnSpPr/>
            <p:nvPr/>
          </p:nvCxnSpPr>
          <p:spPr>
            <a:xfrm>
              <a:off x="10339620" y="6277410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grpSp>
        <p:nvGrpSpPr>
          <p:cNvPr id="35" name="Google Shape;35;p35"/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36" name="Google Shape;36;p35"/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" name="Google Shape;37;p35"/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38" name="Google Shape;38;p35"/>
            <p:cNvCxnSpPr/>
            <p:nvPr/>
          </p:nvCxnSpPr>
          <p:spPr>
            <a:xfrm>
              <a:off x="10339620" y="6277410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Anpassad layout">
  <p:cSld name="3_Anpassad layout"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Google Shape;40;p3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285B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1" name="Google Shape;41;p36"/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42" name="Google Shape;42;p36"/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" name="Google Shape;43;p36"/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44" name="Google Shape;44;p36"/>
            <p:cNvCxnSpPr/>
            <p:nvPr/>
          </p:nvCxnSpPr>
          <p:spPr>
            <a:xfrm>
              <a:off x="10339620" y="6277410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45" name="Google Shape;45;p36"/>
          <p:cNvSpPr txBox="1">
            <a:spLocks noGrp="1"/>
          </p:cNvSpPr>
          <p:nvPr>
            <p:ph type="body" idx="1"/>
          </p:nvPr>
        </p:nvSpPr>
        <p:spPr>
          <a:xfrm>
            <a:off x="1141413" y="1574800"/>
            <a:ext cx="9144000" cy="4186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Calibri"/>
              <a:buNone/>
              <a:defRPr>
                <a:solidFill>
                  <a:schemeClr val="lt1"/>
                </a:solidFill>
              </a:defRPr>
            </a:lvl1pPr>
            <a:lvl2pPr marL="914400" lvl="1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400"/>
              <a:buChar char="•"/>
              <a:defRPr>
                <a:solidFill>
                  <a:schemeClr val="lt1"/>
                </a:solidFill>
              </a:defRPr>
            </a:lvl2pPr>
            <a:lvl3pPr marL="1371600" lvl="2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2000"/>
              <a:buChar char="•"/>
              <a:defRPr>
                <a:solidFill>
                  <a:schemeClr val="lt1"/>
                </a:solidFill>
              </a:defRPr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Char char="•"/>
              <a:defRPr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36"/>
          <p:cNvSpPr txBox="1">
            <a:spLocks noGrp="1"/>
          </p:cNvSpPr>
          <p:nvPr>
            <p:ph type="body" idx="2"/>
          </p:nvPr>
        </p:nvSpPr>
        <p:spPr>
          <a:xfrm>
            <a:off x="1141413" y="761565"/>
            <a:ext cx="9144000" cy="66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Calibri"/>
              <a:buNone/>
              <a:defRPr sz="3600" b="1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" name="Google Shape;47;p3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285B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8" name="Google Shape;48;p36"/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49" name="Google Shape;49;p36"/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36"/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51" name="Google Shape;51;p36"/>
            <p:cNvCxnSpPr/>
            <p:nvPr/>
          </p:nvCxnSpPr>
          <p:spPr>
            <a:xfrm>
              <a:off x="10339620" y="6277410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Anpassad layout">
  <p:cSld name="4_Anpassad layout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37"/>
          <p:cNvSpPr txBox="1"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Calibri"/>
              <a:buNone/>
              <a:defRPr sz="28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37"/>
          <p:cNvSpPr txBox="1">
            <a:spLocks noGrp="1"/>
          </p:cNvSpPr>
          <p:nvPr>
            <p:ph type="body" idx="1"/>
          </p:nvPr>
        </p:nvSpPr>
        <p:spPr>
          <a:xfrm>
            <a:off x="5829302" y="1727200"/>
            <a:ext cx="4127500" cy="4186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" name="Google Shape;55;p37"/>
          <p:cNvSpPr>
            <a:spLocks noGrp="1"/>
          </p:cNvSpPr>
          <p:nvPr>
            <p:ph type="pic" idx="2"/>
          </p:nvPr>
        </p:nvSpPr>
        <p:spPr>
          <a:xfrm>
            <a:off x="0" y="0"/>
            <a:ext cx="5257800" cy="66421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Anpassad layout">
  <p:cSld name="1_Anpassad layou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24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24"/>
          <p:cNvSpPr>
            <a:spLocks noGrp="1"/>
          </p:cNvSpPr>
          <p:nvPr>
            <p:ph type="chart" idx="2"/>
          </p:nvPr>
        </p:nvSpPr>
        <p:spPr>
          <a:xfrm>
            <a:off x="988742" y="1397000"/>
            <a:ext cx="9144000" cy="47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ubrikbild">
  <p:cSld name="Rubrikbild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25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25"/>
          <p:cNvSpPr txBox="1">
            <a:spLocks noGrp="1"/>
          </p:cNvSpPr>
          <p:nvPr>
            <p:ph type="body" idx="1"/>
          </p:nvPr>
        </p:nvSpPr>
        <p:spPr>
          <a:xfrm>
            <a:off x="989013" y="1422400"/>
            <a:ext cx="9144000" cy="4186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npassad layout">
  <p:cSld name="Anpassad layout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8"/>
          <p:cNvSpPr txBox="1"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20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20"/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3" name="Google Shape;13;p20"/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4" name="Google Shape;14;p20"/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5" name="Google Shape;15;p20"/>
            <p:cNvCxnSpPr/>
            <p:nvPr/>
          </p:nvCxnSpPr>
          <p:spPr>
            <a:xfrm>
              <a:off x="9474838" y="5528493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16" name="Google Shape;16;p20"/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7" name="Google Shape;17;p20"/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8" name="Google Shape;18;p20"/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9" name="Google Shape;19;p20"/>
            <p:cNvCxnSpPr/>
            <p:nvPr/>
          </p:nvCxnSpPr>
          <p:spPr>
            <a:xfrm>
              <a:off x="9474838" y="5528493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20" name="Google Shape;20;p20"/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Google Shape;57;p2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8" name="Google Shape;58;p2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9" name="Google Shape;59;p23"/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285B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0" name="Google Shape;60;p23"/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61" name="Google Shape;61;p23"/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62" name="Google Shape;62;p23"/>
            <p:cNvCxnSpPr/>
            <p:nvPr/>
          </p:nvCxnSpPr>
          <p:spPr>
            <a:xfrm>
              <a:off x="9474838" y="5528493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63" name="Google Shape;63;p23"/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" name="Google Shape;64;p23"/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285B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65" name="Google Shape;65;p23"/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66" name="Google Shape;66;p23"/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67" name="Google Shape;67;p23"/>
            <p:cNvCxnSpPr/>
            <p:nvPr/>
          </p:nvCxnSpPr>
          <p:spPr>
            <a:xfrm>
              <a:off x="9474838" y="5528493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sp>
          <p:nvSpPr>
            <p:cNvPr id="68" name="Google Shape;68;p23"/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7665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hyperlink" Target="http://www.kunskapsstyrningvard.se/" TargetMode="External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kunskapsstyrningvard.se/kunskapsstod/personcentreradesammanhallnavardforlopp/godkandavardforlopp/vardforlopphoftledsartros.1005.html" TargetMode="External"/><Relationship Id="rId5" Type="http://schemas.openxmlformats.org/officeDocument/2006/relationships/hyperlink" Target="https://kunskapsstyrningvard.se/kunskapsstyrningvard/kunskapsstod/publiceradekunskapsstod/magochtarmsjukdomar.56323.html" TargetMode="External"/><Relationship Id="rId4" Type="http://schemas.openxmlformats.org/officeDocument/2006/relationships/hyperlink" Target="https://nationelltklinisktkunskapsstod.se/vardprogramochvardforlopp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" name="Google Shape;127;p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5484" y="4236"/>
            <a:ext cx="12207484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8" name="Google Shape;128;p1"/>
          <p:cNvSpPr txBox="1"/>
          <p:nvPr/>
        </p:nvSpPr>
        <p:spPr>
          <a:xfrm>
            <a:off x="1143179" y="1858179"/>
            <a:ext cx="10304060" cy="17994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</a:pPr>
            <a:r>
              <a:rPr lang="sv-SE" sz="5200" b="1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Personcentrerat och 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</a:pPr>
            <a:r>
              <a:rPr lang="sv-SE" sz="5200" b="1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sammanhållet vårdförlopp</a:t>
            </a: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</a:pPr>
            <a:endParaRPr sz="52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Calibri"/>
              <a:buNone/>
            </a:pPr>
            <a:r>
              <a:rPr lang="sv-SE" sz="5200" b="1" i="0" u="none" strike="noStrike" cap="none" dirty="0">
                <a:solidFill>
                  <a:srgbClr val="FFFFFF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Inflammatorisk tarmsjukdom (IBD)  hos vuxna</a:t>
            </a:r>
            <a:endParaRPr sz="5200" b="1" i="0" u="none" strike="noStrike" cap="none" dirty="0">
              <a:solidFill>
                <a:srgbClr val="FFFFFF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</p:txBody>
      </p:sp>
      <p:grpSp>
        <p:nvGrpSpPr>
          <p:cNvPr id="129" name="Google Shape;129;p1"/>
          <p:cNvGrpSpPr/>
          <p:nvPr/>
        </p:nvGrpSpPr>
        <p:grpSpPr>
          <a:xfrm>
            <a:off x="10438642" y="5732687"/>
            <a:ext cx="2222205" cy="884879"/>
            <a:chOff x="10242697" y="5607996"/>
            <a:chExt cx="2222205" cy="884879"/>
          </a:xfrm>
        </p:grpSpPr>
        <p:sp>
          <p:nvSpPr>
            <p:cNvPr id="130" name="Google Shape;130;p1"/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820"/>
                <a:buFont typeface="Calibri"/>
                <a:buNone/>
              </a:pPr>
              <a:r>
                <a:rPr lang="sv-SE" sz="82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SVERIGES REGIONER I SAMVERKAN</a:t>
              </a:r>
              <a:endParaRPr sz="82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Google Shape;131;p1"/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Nationellt system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för kunskapsstyrning </a:t>
              </a:r>
              <a:endParaRPr sz="14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  <a:p>
              <a:pPr marL="0" marR="0" lvl="0" indent="0" algn="l" rtl="0">
                <a:lnSpc>
                  <a:spcPct val="105714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Calibri"/>
                <a:buNone/>
              </a:pPr>
              <a:r>
                <a:rPr lang="sv-SE" sz="1400" b="1" i="0" u="none" strike="noStrike" cap="none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rPr>
                <a:t>Hälso- och sjukvård</a:t>
              </a:r>
              <a:endParaRPr sz="1800" b="0" i="0" u="none" strike="noStrike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cxnSp>
          <p:nvCxnSpPr>
            <p:cNvPr id="132" name="Google Shape;132;p1"/>
            <p:cNvCxnSpPr/>
            <p:nvPr/>
          </p:nvCxnSpPr>
          <p:spPr>
            <a:xfrm>
              <a:off x="10339620" y="6277410"/>
              <a:ext cx="1529859" cy="0"/>
            </a:xfrm>
            <a:prstGeom prst="straightConnector1">
              <a:avLst/>
            </a:prstGeom>
            <a:noFill/>
            <a:ln w="317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Google Shape;241;p12"/>
          <p:cNvSpPr txBox="1">
            <a:spLocks noGrp="1"/>
          </p:cNvSpPr>
          <p:nvPr>
            <p:ph type="ctrTitle"/>
          </p:nvPr>
        </p:nvSpPr>
        <p:spPr>
          <a:xfrm>
            <a:off x="5729680" y="679438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A8695"/>
              </a:buClr>
              <a:buSzPts val="3600"/>
              <a:buFont typeface="Calibri"/>
              <a:buNone/>
            </a:pPr>
            <a:r>
              <a:rPr lang="sv-SE" dirty="0">
                <a:solidFill>
                  <a:srgbClr val="5A8695"/>
                </a:solidFill>
              </a:rPr>
              <a:t>Vårdförloppet lägger tonvikt på</a:t>
            </a:r>
            <a:endParaRPr dirty="0"/>
          </a:p>
        </p:txBody>
      </p:sp>
      <p:sp>
        <p:nvSpPr>
          <p:cNvPr id="242" name="Google Shape;242;p12"/>
          <p:cNvSpPr/>
          <p:nvPr/>
        </p:nvSpPr>
        <p:spPr>
          <a:xfrm>
            <a:off x="5729680" y="1655253"/>
            <a:ext cx="6626549" cy="3913034"/>
          </a:xfrm>
          <a:prstGeom prst="rect">
            <a:avLst/>
          </a:prstGeom>
          <a:noFill/>
          <a:ln w="12700" cap="flat" cmpd="sng">
            <a:noFill/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90000" rIns="91425" bIns="45700" anchor="t" anchorCtr="0">
            <a:noAutofit/>
          </a:bodyPr>
          <a:lstStyle/>
          <a:p>
            <a:pPr marL="342900" indent="-342900">
              <a:spcAft>
                <a:spcPts val="1100"/>
              </a:spcAft>
              <a:buSzPts val="2400"/>
              <a:buFont typeface="Arial"/>
              <a:buChar char="•"/>
            </a:pPr>
            <a:r>
              <a:rPr lang="sv-SE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dig diagnostik och behandling</a:t>
            </a:r>
          </a:p>
          <a:p>
            <a:pPr marL="342900" indent="-342900">
              <a:spcAft>
                <a:spcPts val="1100"/>
              </a:spcAft>
              <a:buSzPts val="2400"/>
              <a:buFont typeface="Arial"/>
              <a:buChar char="•"/>
            </a:pPr>
            <a:r>
              <a:rPr lang="sv-SE" sz="24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Tät monitorering av inflammatoriska markörer och patientrapporterade utfallsmått</a:t>
            </a:r>
            <a:endParaRPr lang="sv-SE" sz="2400" dirty="0"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  <a:p>
            <a:pPr marL="342900" indent="-342900">
              <a:spcAft>
                <a:spcPts val="1100"/>
              </a:spcAft>
              <a:buSzPts val="2400"/>
              <a:buFont typeface="Arial"/>
              <a:buChar char="•"/>
            </a:pPr>
            <a:r>
              <a:rPr lang="sv-SE" sz="24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Målstyrd behandling (”</a:t>
            </a:r>
            <a:r>
              <a:rPr lang="sv-SE" sz="2400" dirty="0" err="1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treat</a:t>
            </a:r>
            <a:r>
              <a:rPr lang="sv-SE" sz="24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-to-</a:t>
            </a:r>
            <a:r>
              <a:rPr lang="sv-SE" sz="2400" dirty="0" err="1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target</a:t>
            </a:r>
            <a:r>
              <a:rPr lang="sv-SE" sz="24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”)</a:t>
            </a:r>
          </a:p>
          <a:p>
            <a:pPr marL="342900" indent="-342900">
              <a:spcAft>
                <a:spcPts val="1100"/>
              </a:spcAft>
              <a:buSzPts val="2400"/>
              <a:buFont typeface="Arial"/>
              <a:buChar char="•"/>
            </a:pPr>
            <a:r>
              <a:rPr lang="sv-SE" sz="24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Personcentrerad vård</a:t>
            </a:r>
          </a:p>
          <a:p>
            <a:pPr marL="342900" indent="-342900">
              <a:spcAft>
                <a:spcPts val="1100"/>
              </a:spcAft>
              <a:buSzPts val="2400"/>
              <a:buFont typeface="Arial"/>
              <a:buChar char="•"/>
            </a:pPr>
            <a:r>
              <a:rPr lang="sv-SE" sz="24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Teambaserade insatser (läkare, sjuksköterska, dietist och kurator)</a:t>
            </a:r>
            <a:endParaRPr lang="sv-SE" sz="2400" strike="sngStrike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indent="-342900">
              <a:spcAft>
                <a:spcPts val="1100"/>
              </a:spcAft>
              <a:buSzPts val="2400"/>
              <a:buFont typeface="Arial"/>
              <a:buChar char="•"/>
            </a:pPr>
            <a:r>
              <a:rPr lang="sv-SE" sz="24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Förebyggande av försämrad tarmfunktion och komplikationer </a:t>
            </a:r>
          </a:p>
          <a:p>
            <a:pPr marL="342900" lvl="0" indent="-342900">
              <a:spcBef>
                <a:spcPts val="600"/>
              </a:spcBef>
              <a:buSzPts val="2400"/>
              <a:buFont typeface="Arial"/>
              <a:buChar char="•"/>
            </a:pPr>
            <a:endParaRPr lang="sv-SE" sz="2400" dirty="0">
              <a:latin typeface="Calibri"/>
              <a:ea typeface="Calibri"/>
              <a:cs typeface="Calibri"/>
              <a:sym typeface="Calibri"/>
            </a:endParaRPr>
          </a:p>
          <a:p>
            <a:pPr marL="342900" lvl="0" indent="-342900">
              <a:spcBef>
                <a:spcPts val="600"/>
              </a:spcBef>
              <a:buSzPts val="2400"/>
              <a:buFont typeface="Arial"/>
              <a:buChar char="•"/>
            </a:pPr>
            <a:endParaRPr lang="sv-SE" sz="2400" dirty="0"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3" name="Google Shape;243;p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20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IBD hos vuxna</a:t>
            </a:r>
            <a:endParaRPr/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1A0862EC-01B8-4369-BDA0-F885BA9AD4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173" r="15868"/>
          <a:stretch/>
        </p:blipFill>
        <p:spPr>
          <a:xfrm>
            <a:off x="0" y="0"/>
            <a:ext cx="5441649" cy="6646460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p13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sv-SE" dirty="0"/>
              <a:t>Patientkontrakt</a:t>
            </a:r>
            <a:endParaRPr dirty="0"/>
          </a:p>
        </p:txBody>
      </p:sp>
      <p:sp>
        <p:nvSpPr>
          <p:cNvPr id="250" name="Google Shape;250;p13"/>
          <p:cNvSpPr txBox="1">
            <a:spLocks noGrp="1"/>
          </p:cNvSpPr>
          <p:nvPr>
            <p:ph type="body" idx="1"/>
          </p:nvPr>
        </p:nvSpPr>
        <p:spPr>
          <a:xfrm>
            <a:off x="989013" y="1422400"/>
            <a:ext cx="7144334" cy="41862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</a:pPr>
            <a:r>
              <a:rPr lang="sv-SE" dirty="0"/>
              <a:t>I vårdförloppets mål ingår delmål om delaktighet, information och stärkt tilltro till sin egen förmåga.</a:t>
            </a:r>
            <a:endParaRPr dirty="0"/>
          </a:p>
          <a:p>
            <a:pPr marL="342900" lvl="0" indent="-304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sv-SE" dirty="0"/>
              <a:t>Patienten har en mycket aktiv roll genom hela vårdförloppet (efter egen förmåga)</a:t>
            </a:r>
            <a:endParaRPr dirty="0"/>
          </a:p>
          <a:p>
            <a:pPr marL="342900" lvl="0" indent="-304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sv-SE" dirty="0"/>
              <a:t>Patientutbildning där patienten själv kan ta del av material som är relevant utifrån person och situation</a:t>
            </a:r>
            <a:endParaRPr dirty="0"/>
          </a:p>
          <a:p>
            <a:pPr marL="342900" lvl="0" indent="-3048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</a:pPr>
            <a:r>
              <a:rPr lang="sv-SE" dirty="0"/>
              <a:t>Samtliga yrkeskategorier bidrar till att vården ges i samråd med patienten, utifrån person och situation</a:t>
            </a:r>
            <a:endParaRPr dirty="0"/>
          </a:p>
        </p:txBody>
      </p:sp>
      <p:sp>
        <p:nvSpPr>
          <p:cNvPr id="251" name="Google Shape;251;p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20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IBD hos vuxna</a:t>
            </a:r>
            <a:endParaRPr/>
          </a:p>
        </p:txBody>
      </p:sp>
      <p:sp>
        <p:nvSpPr>
          <p:cNvPr id="252" name="Google Shape;252;p13"/>
          <p:cNvSpPr/>
          <p:nvPr/>
        </p:nvSpPr>
        <p:spPr>
          <a:xfrm>
            <a:off x="988742" y="5242901"/>
            <a:ext cx="9312938" cy="1123006"/>
          </a:xfrm>
          <a:prstGeom prst="rect">
            <a:avLst/>
          </a:prstGeom>
          <a:solidFill>
            <a:srgbClr val="D1EAE9"/>
          </a:solidFill>
          <a:ln w="12700" cap="flat" cmpd="sng">
            <a:solidFill>
              <a:srgbClr val="285B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8000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Calibri"/>
              <a:buNone/>
            </a:pPr>
            <a:r>
              <a:rPr lang="sv-SE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yftet med patientkontrakt är att genom en gemensam överenskommelse mellan patient och vårdgivare säkerställa delaktighet, samordning och tillgänglighet med patientens perspektiv som utgångspunkt.</a:t>
            </a:r>
            <a:endParaRPr dirty="0"/>
          </a:p>
        </p:txBody>
      </p:sp>
      <p:pic>
        <p:nvPicPr>
          <p:cNvPr id="253" name="Google Shape;253;p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4497" t="7011" r="55414" b="15576"/>
          <a:stretch/>
        </p:blipFill>
        <p:spPr>
          <a:xfrm>
            <a:off x="8332342" y="1373404"/>
            <a:ext cx="2887037" cy="377081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14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sv-SE" dirty="0"/>
              <a:t>Vad kommer att följas upp (urval)</a:t>
            </a:r>
            <a:endParaRPr dirty="0"/>
          </a:p>
        </p:txBody>
      </p:sp>
      <p:sp>
        <p:nvSpPr>
          <p:cNvPr id="260" name="Google Shape;260;p14"/>
          <p:cNvSpPr/>
          <p:nvPr/>
        </p:nvSpPr>
        <p:spPr>
          <a:xfrm>
            <a:off x="984468" y="1560384"/>
            <a:ext cx="4909649" cy="506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7D7A"/>
              </a:buClr>
              <a:buSzPts val="1800"/>
              <a:buFont typeface="Calibri"/>
              <a:buNone/>
            </a:pPr>
            <a:r>
              <a:rPr lang="sv-SE" sz="1800" b="1" i="0" u="none" strike="noStrike" cap="none" dirty="0">
                <a:solidFill>
                  <a:srgbClr val="377D7A"/>
                </a:solidFill>
                <a:latin typeface="Calibri"/>
                <a:ea typeface="Calibri"/>
                <a:cs typeface="Calibri"/>
                <a:sym typeface="Calibri"/>
              </a:rPr>
              <a:t>Indikatorer (målvärde)</a:t>
            </a:r>
            <a:endParaRPr dirty="0"/>
          </a:p>
        </p:txBody>
      </p:sp>
      <p:sp>
        <p:nvSpPr>
          <p:cNvPr id="261" name="Google Shape;261;p14"/>
          <p:cNvSpPr/>
          <p:nvPr/>
        </p:nvSpPr>
        <p:spPr>
          <a:xfrm>
            <a:off x="988742" y="2139206"/>
            <a:ext cx="4905375" cy="3240867"/>
          </a:xfrm>
          <a:prstGeom prst="rect">
            <a:avLst/>
          </a:prstGeom>
          <a:noFill/>
          <a:ln w="12700" cap="flat" cmpd="sng">
            <a:solidFill>
              <a:srgbClr val="75C2B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lvl="0" indent="-342900">
              <a:buSzPts val="2000"/>
              <a:buFont typeface="Arial"/>
              <a:buChar char="•"/>
            </a:pPr>
            <a:r>
              <a:rPr lang="sv-SE" sz="2000" dirty="0">
                <a:latin typeface="Calibri"/>
                <a:ea typeface="Calibri"/>
                <a:cs typeface="Calibri"/>
                <a:sym typeface="Calibri"/>
              </a:rPr>
              <a:t>Andel </a:t>
            </a:r>
            <a:r>
              <a:rPr lang="sv-SE" sz="20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patienter med F-</a:t>
            </a:r>
            <a:r>
              <a:rPr lang="sv-SE" sz="2000" dirty="0" err="1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kalprotektin</a:t>
            </a:r>
            <a:r>
              <a:rPr lang="sv-SE" sz="20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 &lt;250 mg/kg vid 12 månader</a:t>
            </a:r>
          </a:p>
          <a:p>
            <a:pPr marL="342900" lvl="0" indent="-342900">
              <a:buSzPts val="2000"/>
              <a:buFont typeface="Arial"/>
              <a:buChar char="•"/>
            </a:pPr>
            <a:endParaRPr lang="sv-SE" sz="800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lvl="0">
              <a:buSzPts val="2000"/>
            </a:pPr>
            <a:endParaRPr lang="sv-SE" sz="400" dirty="0">
              <a:latin typeface="Calibri" panose="020F0502020204030204" pitchFamily="34" charset="0"/>
              <a:ea typeface="Calibri"/>
              <a:cs typeface="Calibri" panose="020F0502020204030204" pitchFamily="34" charset="0"/>
              <a:sym typeface="Calibri"/>
            </a:endParaRPr>
          </a:p>
          <a:p>
            <a:pPr marL="342900" lvl="0" indent="-342900">
              <a:buSzPts val="2000"/>
              <a:buFont typeface="Arial"/>
              <a:buChar char="•"/>
            </a:pPr>
            <a:r>
              <a:rPr lang="sv-SE" sz="2000" dirty="0">
                <a:latin typeface="Calibri" panose="020F0502020204030204" pitchFamily="34" charset="0"/>
                <a:cs typeface="Calibri" panose="020F0502020204030204" pitchFamily="34" charset="0"/>
              </a:rPr>
              <a:t>Andel av patienter som uppger “ingen” eller “låg grad” av funktionsnedsättning (SHS) vid 12 månader</a:t>
            </a:r>
          </a:p>
          <a:p>
            <a:pPr marL="342900" lvl="0" indent="-342900">
              <a:buSzPts val="2000"/>
              <a:buFont typeface="Arial"/>
              <a:buChar char="•"/>
            </a:pPr>
            <a:endParaRPr lang="sv-SE" sz="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>
              <a:buSzPts val="2000"/>
              <a:buFont typeface="Arial"/>
              <a:buChar char="•"/>
            </a:pPr>
            <a:r>
              <a:rPr lang="sv-SE" sz="2000" dirty="0">
                <a:latin typeface="Calibri" panose="020F0502020204030204" pitchFamily="34" charset="0"/>
                <a:cs typeface="Calibri" panose="020F0502020204030204" pitchFamily="34" charset="0"/>
              </a:rPr>
              <a:t>Andel patienter som uppger “mycket bra” eller “ganska bra” tillgänglighet till IBD-vården vid 12 månader</a:t>
            </a:r>
            <a:endParaRPr sz="2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64" name="Google Shape;264;p14"/>
          <p:cNvSpPr/>
          <p:nvPr/>
        </p:nvSpPr>
        <p:spPr>
          <a:xfrm>
            <a:off x="6254309" y="1564430"/>
            <a:ext cx="4998334" cy="599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7D7A"/>
              </a:buClr>
              <a:buSzPts val="1800"/>
              <a:buFont typeface="Calibri"/>
              <a:buNone/>
            </a:pPr>
            <a:r>
              <a:rPr lang="sv-SE" sz="1800" b="1" i="0" u="none" strike="noStrike" cap="none" dirty="0">
                <a:solidFill>
                  <a:srgbClr val="377D7A"/>
                </a:solidFill>
                <a:latin typeface="Calibri"/>
                <a:ea typeface="Calibri"/>
                <a:cs typeface="Calibri"/>
                <a:sym typeface="Calibri"/>
              </a:rPr>
              <a:t>Indikatorer (målvärde)</a:t>
            </a:r>
            <a:endParaRPr dirty="0"/>
          </a:p>
        </p:txBody>
      </p:sp>
      <p:sp>
        <p:nvSpPr>
          <p:cNvPr id="262" name="Google Shape;262;p14"/>
          <p:cNvSpPr/>
          <p:nvPr/>
        </p:nvSpPr>
        <p:spPr>
          <a:xfrm>
            <a:off x="6254308" y="2139206"/>
            <a:ext cx="4998334" cy="3240868"/>
          </a:xfrm>
          <a:prstGeom prst="rect">
            <a:avLst/>
          </a:prstGeom>
          <a:noFill/>
          <a:ln w="12700" cap="flat" cmpd="sng">
            <a:solidFill>
              <a:srgbClr val="75C2BE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lvl="0" indent="-342900">
              <a:buSzPts val="2000"/>
              <a:buFont typeface="Arial"/>
              <a:buChar char="•"/>
            </a:pPr>
            <a:r>
              <a:rPr lang="sv-SE" sz="2000" dirty="0">
                <a:latin typeface="Calibri"/>
                <a:ea typeface="Calibri"/>
                <a:cs typeface="Calibri"/>
                <a:sym typeface="Calibri"/>
              </a:rPr>
              <a:t>Andel patienter som erbjuds </a:t>
            </a:r>
            <a:r>
              <a:rPr lang="sv-SE" sz="2000" dirty="0" err="1">
                <a:latin typeface="Calibri"/>
                <a:ea typeface="Calibri"/>
                <a:cs typeface="Calibri"/>
                <a:sym typeface="Calibri"/>
              </a:rPr>
              <a:t>ileokoloskopi</a:t>
            </a:r>
            <a:r>
              <a:rPr lang="sv-SE" sz="2000" dirty="0">
                <a:latin typeface="Calibri"/>
                <a:ea typeface="Calibri"/>
                <a:cs typeface="Calibri"/>
                <a:sym typeface="Calibri"/>
              </a:rPr>
              <a:t> inom 14 dagar från remiss</a:t>
            </a:r>
          </a:p>
          <a:p>
            <a:pPr marL="342900" lvl="0" indent="-342900">
              <a:buSzPts val="2000"/>
              <a:buFont typeface="Arial"/>
              <a:buChar char="•"/>
            </a:pPr>
            <a:endParaRPr lang="sv-SE" sz="800" dirty="0">
              <a:latin typeface="Calibri"/>
              <a:ea typeface="Calibri"/>
              <a:cs typeface="Calibri"/>
              <a:sym typeface="Calibri"/>
            </a:endParaRPr>
          </a:p>
          <a:p>
            <a:pPr marL="342900" lvl="0" indent="-342900">
              <a:buSzPts val="2000"/>
              <a:buFont typeface="Arial"/>
              <a:buChar char="•"/>
            </a:pPr>
            <a:r>
              <a:rPr lang="sv-SE" sz="2000" dirty="0">
                <a:latin typeface="Calibri"/>
                <a:ea typeface="Calibri"/>
                <a:cs typeface="Calibri"/>
                <a:sym typeface="Calibri"/>
              </a:rPr>
              <a:t>Andel patienter med minst ett F- </a:t>
            </a:r>
            <a:r>
              <a:rPr lang="sv-SE" sz="2000" dirty="0" err="1">
                <a:latin typeface="Calibri"/>
                <a:ea typeface="Calibri"/>
                <a:cs typeface="Calibri"/>
                <a:sym typeface="Calibri"/>
              </a:rPr>
              <a:t>Kalprotektin</a:t>
            </a:r>
            <a:r>
              <a:rPr lang="sv-SE" sz="2000" dirty="0">
                <a:latin typeface="Calibri"/>
                <a:ea typeface="Calibri"/>
                <a:cs typeface="Calibri"/>
                <a:sym typeface="Calibri"/>
              </a:rPr>
              <a:t> första 12 månaderna efter diagnos</a:t>
            </a:r>
          </a:p>
          <a:p>
            <a:pPr marL="342900" lvl="0" indent="-342900">
              <a:buSzPts val="2000"/>
              <a:buFont typeface="Arial"/>
              <a:buChar char="•"/>
            </a:pPr>
            <a:endParaRPr lang="sv-SE" sz="800" dirty="0">
              <a:latin typeface="Calibri"/>
              <a:ea typeface="Calibri"/>
              <a:cs typeface="Calibri"/>
              <a:sym typeface="Calibri"/>
            </a:endParaRPr>
          </a:p>
          <a:p>
            <a:pPr marL="342900" lvl="0" indent="-342900">
              <a:buSzPts val="2000"/>
              <a:buFont typeface="Arial"/>
              <a:buChar char="•"/>
            </a:pPr>
            <a:r>
              <a:rPr lang="sv-SE" sz="2000" dirty="0">
                <a:latin typeface="Calibri"/>
                <a:ea typeface="Calibri"/>
                <a:cs typeface="Calibri"/>
                <a:sym typeface="Calibri"/>
              </a:rPr>
              <a:t>Andel patienter med minst ett PGA första 12 månaderna efter diagnos</a:t>
            </a:r>
            <a:endParaRPr sz="20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63" name="Google Shape;263;p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976558" y="1326807"/>
            <a:ext cx="1023016" cy="754175"/>
          </a:xfrm>
          <a:prstGeom prst="rect">
            <a:avLst/>
          </a:prstGeom>
          <a:noFill/>
          <a:ln>
            <a:noFill/>
          </a:ln>
        </p:spPr>
      </p:pic>
      <p:sp>
        <p:nvSpPr>
          <p:cNvPr id="265" name="Google Shape;265;p14"/>
          <p:cNvSpPr/>
          <p:nvPr/>
        </p:nvSpPr>
        <p:spPr>
          <a:xfrm>
            <a:off x="988742" y="5683372"/>
            <a:ext cx="9209431" cy="834406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285B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buClr>
                <a:srgbClr val="FFFFFF"/>
              </a:buClr>
              <a:buSzPts val="1600"/>
            </a:pPr>
            <a:r>
              <a:rPr lang="sv-SE" sz="1600" b="1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Datakällor:</a:t>
            </a:r>
            <a:r>
              <a:rPr lang="sv-SE" sz="1600" b="0" i="0" u="none" strike="noStrike" cap="none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 Svenska kvalitetsregistret för inflammatorisk tarmsjukdom </a:t>
            </a:r>
            <a:r>
              <a:rPr lang="sv-SE" sz="16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(SWIBREG) och Regionernas</a:t>
            </a:r>
          </a:p>
          <a:p>
            <a:pPr lvl="0">
              <a:buClr>
                <a:srgbClr val="FFFFFF"/>
              </a:buClr>
              <a:buSzPts val="1600"/>
            </a:pPr>
            <a:r>
              <a:rPr lang="sv-SE" sz="1600" dirty="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rPr>
              <a:t>vårdinformationssystem </a:t>
            </a:r>
            <a:endParaRPr dirty="0"/>
          </a:p>
        </p:txBody>
      </p:sp>
      <p:pic>
        <p:nvPicPr>
          <p:cNvPr id="266" name="Google Shape;266;p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30464" y="5723573"/>
            <a:ext cx="754004" cy="754004"/>
          </a:xfrm>
          <a:prstGeom prst="rect">
            <a:avLst/>
          </a:prstGeom>
          <a:noFill/>
          <a:ln>
            <a:noFill/>
          </a:ln>
        </p:spPr>
      </p:pic>
      <p:pic>
        <p:nvPicPr>
          <p:cNvPr id="267" name="Google Shape;267;p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221633" y="1333203"/>
            <a:ext cx="1023016" cy="754175"/>
          </a:xfrm>
          <a:prstGeom prst="rect">
            <a:avLst/>
          </a:prstGeom>
          <a:noFill/>
          <a:ln>
            <a:noFill/>
          </a:ln>
        </p:spPr>
      </p:pic>
      <p:sp>
        <p:nvSpPr>
          <p:cNvPr id="268" name="Google Shape;268;p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20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IBD hos vuxna</a:t>
            </a:r>
            <a:endParaRPr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Google Shape;275;p15"/>
          <p:cNvSpPr txBox="1">
            <a:spLocks noGrp="1"/>
          </p:cNvSpPr>
          <p:nvPr>
            <p:ph type="ctrTitle"/>
          </p:nvPr>
        </p:nvSpPr>
        <p:spPr>
          <a:xfrm>
            <a:off x="690068" y="671705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A8695"/>
              </a:buClr>
              <a:buSzPts val="3600"/>
              <a:buFont typeface="Calibri"/>
              <a:buNone/>
            </a:pPr>
            <a:r>
              <a:rPr lang="sv-SE" dirty="0">
                <a:solidFill>
                  <a:srgbClr val="5A8695"/>
                </a:solidFill>
              </a:rPr>
              <a:t>Vad blir konsekvenserna?</a:t>
            </a:r>
            <a:endParaRPr dirty="0"/>
          </a:p>
        </p:txBody>
      </p:sp>
      <p:sp>
        <p:nvSpPr>
          <p:cNvPr id="276" name="Google Shape;276;p15"/>
          <p:cNvSpPr/>
          <p:nvPr/>
        </p:nvSpPr>
        <p:spPr>
          <a:xfrm>
            <a:off x="690068" y="1666398"/>
            <a:ext cx="4681544" cy="3916255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1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Fördelar/vinster</a:t>
            </a:r>
            <a:endParaRPr dirty="0"/>
          </a:p>
          <a:p>
            <a:pPr marL="285750" indent="-285750">
              <a:spcBef>
                <a:spcPts val="600"/>
              </a:spcBef>
              <a:buSzPts val="2000"/>
              <a:buFont typeface="Arial"/>
              <a:buChar char="•"/>
            </a:pPr>
            <a:r>
              <a:rPr lang="sv-SE" sz="18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Förutsättningar för ett strukturerat omhändertagande (som kan följas upp och utvärderas) skapas </a:t>
            </a:r>
          </a:p>
          <a:p>
            <a:pPr marL="285750" indent="-285750">
              <a:spcBef>
                <a:spcPts val="600"/>
              </a:spcBef>
              <a:buSzPts val="2000"/>
              <a:buFont typeface="Arial"/>
              <a:buChar char="•"/>
            </a:pPr>
            <a:r>
              <a:rPr lang="sv-SE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ler patienter med IBD får vård och behandling enligt befintliga riktlinjer, samt tillgång till hela IBD-teamet </a:t>
            </a:r>
          </a:p>
          <a:p>
            <a:pPr marL="285750" lvl="0" indent="-285750">
              <a:spcBef>
                <a:spcPts val="600"/>
              </a:spcBef>
              <a:buSzPts val="2000"/>
              <a:buFont typeface="Arial"/>
              <a:buChar char="•"/>
            </a:pPr>
            <a:r>
              <a:rPr lang="sv-SE" sz="18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Andelen patienter som utvecklar försämrad tarmfunktion eller komplikationer minskar vilket förväntas bidra till lägre kostnader för samhället</a:t>
            </a:r>
          </a:p>
        </p:txBody>
      </p:sp>
      <p:sp>
        <p:nvSpPr>
          <p:cNvPr id="277" name="Google Shape;277;p15"/>
          <p:cNvSpPr/>
          <p:nvPr/>
        </p:nvSpPr>
        <p:spPr>
          <a:xfrm>
            <a:off x="6965023" y="1666397"/>
            <a:ext cx="4681544" cy="3916255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txBody>
          <a:bodyPr spcFirstLastPara="1" wrap="square" lIns="91425" tIns="900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1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Ev. risker/svårigheter</a:t>
            </a:r>
            <a:endParaRPr dirty="0"/>
          </a:p>
          <a:p>
            <a:pPr marL="285750" lvl="0" indent="-285750">
              <a:spcBef>
                <a:spcPts val="600"/>
              </a:spcBef>
              <a:buSzPts val="1800"/>
              <a:buFont typeface="Arial"/>
              <a:buChar char="•"/>
            </a:pPr>
            <a:r>
              <a:rPr lang="sv-SE" sz="1800" dirty="0"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Ett ökat antal besök och endoskopiska undersökningar kan leda till ökade kostnader och risk för undanträngningseffekt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latin typeface="Calibri" panose="020F0502020204030204" pitchFamily="34" charset="0"/>
                <a:cs typeface="Calibri" panose="020F0502020204030204" pitchFamily="34" charset="0"/>
              </a:rPr>
              <a:t>Lokala arbetssätt kan behöva förändras och såväl kompetensutveckling som organisatoriska förändringar kräva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latin typeface="Calibri" panose="020F0502020204030204" pitchFamily="34" charset="0"/>
                <a:cs typeface="Calibri" panose="020F0502020204030204" pitchFamily="34" charset="0"/>
              </a:rPr>
              <a:t>Införandet kan begränsas av brister i personalresurser och kompetensförsörjnin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pföljningen kan försvåras </a:t>
            </a:r>
            <a:r>
              <a:rPr lang="sv-SE" sz="1800" dirty="0">
                <a:latin typeface="Calibri" panose="020F0502020204030204" pitchFamily="34" charset="0"/>
                <a:cs typeface="Calibri" panose="020F0502020204030204" pitchFamily="34" charset="0"/>
              </a:rPr>
              <a:t>på grund av bristande täckningsgrad och registrering i SWIBREG</a:t>
            </a:r>
          </a:p>
          <a:p>
            <a:pPr marR="0" lvl="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endParaRPr dirty="0"/>
          </a:p>
        </p:txBody>
      </p:sp>
      <p:pic>
        <p:nvPicPr>
          <p:cNvPr id="278" name="Google Shape;278;p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179106" y="2223346"/>
            <a:ext cx="2039842" cy="203984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" name="Google Shape;284;p16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sv-SE"/>
              <a:t>Dialog</a:t>
            </a:r>
            <a:endParaRPr/>
          </a:p>
        </p:txBody>
      </p:sp>
      <p:sp>
        <p:nvSpPr>
          <p:cNvPr id="285" name="Google Shape;285;p16"/>
          <p:cNvSpPr txBox="1">
            <a:spLocks noGrp="1"/>
          </p:cNvSpPr>
          <p:nvPr>
            <p:ph type="body" idx="1"/>
          </p:nvPr>
        </p:nvSpPr>
        <p:spPr>
          <a:xfrm>
            <a:off x="903952" y="1613792"/>
            <a:ext cx="6708960" cy="45956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20000"/>
          </a:bodyPr>
          <a:lstStyle/>
          <a:p>
            <a:pPr marL="342900" lvl="0" indent="-342900" algn="l" rt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2500" b="1">
                <a:solidFill>
                  <a:srgbClr val="000000"/>
                </a:solidFill>
              </a:rPr>
              <a:t>Positiva effekter hos oss </a:t>
            </a:r>
            <a:r>
              <a:rPr lang="sv-SE" sz="2500">
                <a:solidFill>
                  <a:srgbClr val="000000"/>
                </a:solidFill>
              </a:rPr>
              <a:t>– patient, personal, resurser</a:t>
            </a:r>
            <a:endParaRPr/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2500" b="1">
                <a:solidFill>
                  <a:srgbClr val="000000"/>
                </a:solidFill>
              </a:rPr>
              <a:t>Styrkor i regionen </a:t>
            </a:r>
            <a:r>
              <a:rPr lang="sv-SE" sz="2500">
                <a:solidFill>
                  <a:srgbClr val="000000"/>
                </a:solidFill>
              </a:rPr>
              <a:t>– goda exempel, nyckelpersoner</a:t>
            </a:r>
            <a:endParaRPr/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2500" b="1">
                <a:solidFill>
                  <a:srgbClr val="000000"/>
                </a:solidFill>
              </a:rPr>
              <a:t>Vilka påverkas </a:t>
            </a:r>
            <a:r>
              <a:rPr lang="sv-SE" sz="2500">
                <a:solidFill>
                  <a:srgbClr val="000000"/>
                </a:solidFill>
              </a:rPr>
              <a:t>– patientgrupper, verksamheter, professioner</a:t>
            </a:r>
            <a:endParaRPr/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2500" b="1">
                <a:solidFill>
                  <a:srgbClr val="000000"/>
                </a:solidFill>
              </a:rPr>
              <a:t>Vad ska vi göra annorlunda </a:t>
            </a:r>
            <a:r>
              <a:rPr lang="sv-SE" sz="2500">
                <a:solidFill>
                  <a:srgbClr val="000000"/>
                </a:solidFill>
              </a:rPr>
              <a:t>- vad gör vi redan nu, ska sluta göra, arbetssätt, digitalisering</a:t>
            </a:r>
            <a:endParaRPr/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2500" b="1">
                <a:solidFill>
                  <a:srgbClr val="000000"/>
                </a:solidFill>
              </a:rPr>
              <a:t>Vilka genomför </a:t>
            </a:r>
            <a:r>
              <a:rPr lang="sv-SE" sz="2500">
                <a:solidFill>
                  <a:srgbClr val="000000"/>
                </a:solidFill>
              </a:rPr>
              <a:t>– vilket stöd behövs, vad rår vi själva över</a:t>
            </a:r>
            <a:endParaRPr/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2500" b="1">
                <a:solidFill>
                  <a:srgbClr val="000000"/>
                </a:solidFill>
              </a:rPr>
              <a:t>Hur genomförs </a:t>
            </a:r>
            <a:r>
              <a:rPr lang="sv-SE" sz="2500">
                <a:solidFill>
                  <a:srgbClr val="000000"/>
                </a:solidFill>
              </a:rPr>
              <a:t>– behövs beslut, påverkas resurser, avtal, kunskapsdokument, rutinbeskrivningar, tidpunkt</a:t>
            </a:r>
            <a:endParaRPr/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2500" b="1">
                <a:solidFill>
                  <a:srgbClr val="000000"/>
                </a:solidFill>
              </a:rPr>
              <a:t>Svårigheter och risker</a:t>
            </a:r>
            <a:endParaRPr/>
          </a:p>
          <a:p>
            <a:pPr marL="342900" lvl="0" indent="-342900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2500" b="1">
                <a:solidFill>
                  <a:srgbClr val="000000"/>
                </a:solidFill>
              </a:rPr>
              <a:t>Kommunikation</a:t>
            </a:r>
            <a:r>
              <a:rPr lang="sv-SE" sz="2500">
                <a:solidFill>
                  <a:srgbClr val="000000"/>
                </a:solidFill>
              </a:rPr>
              <a:t> – målgrupp, budskap, former, tidpunkt</a:t>
            </a:r>
            <a:endParaRPr/>
          </a:p>
          <a:p>
            <a:pPr marL="342900" lvl="0" indent="-207962" algn="l" rtl="0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Arial"/>
              <a:buNone/>
            </a:pPr>
            <a:endParaRPr sz="2500">
              <a:solidFill>
                <a:srgbClr val="000000"/>
              </a:solidFill>
            </a:endParaRPr>
          </a:p>
        </p:txBody>
      </p:sp>
      <p:sp>
        <p:nvSpPr>
          <p:cNvPr id="286" name="Google Shape;286;p16"/>
          <p:cNvSpPr/>
          <p:nvPr/>
        </p:nvSpPr>
        <p:spPr>
          <a:xfrm>
            <a:off x="8423515" y="1613791"/>
            <a:ext cx="3418453" cy="2433275"/>
          </a:xfrm>
          <a:prstGeom prst="wedgeRoundRectCallout">
            <a:avLst>
              <a:gd name="adj1" fmla="val -20833"/>
              <a:gd name="adj2" fmla="val 62500"/>
              <a:gd name="adj3" fmla="val 0"/>
            </a:avLst>
          </a:prstGeom>
          <a:solidFill>
            <a:schemeClr val="accent1"/>
          </a:solidFill>
          <a:ln w="12700" cap="flat" cmpd="sng">
            <a:solidFill>
              <a:srgbClr val="285B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000" b="1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Diskutera gärna:</a:t>
            </a:r>
            <a:endParaRPr/>
          </a:p>
          <a:p>
            <a:pPr marL="342900" marR="0" lvl="0" indent="-342900" algn="l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sv-SE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Hur ser gapet ut hos oss?</a:t>
            </a:r>
            <a:endParaRPr/>
          </a:p>
          <a:p>
            <a:pPr marL="342900" marR="0" lvl="0" indent="-342900" algn="l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sv-SE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Vad kan vi prioritera att börja göra här?</a:t>
            </a:r>
            <a:endParaRPr/>
          </a:p>
          <a:p>
            <a:pPr marL="342900" marR="0" lvl="0" indent="-342900" algn="l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Arial"/>
              <a:buChar char="•"/>
            </a:pPr>
            <a:r>
              <a:rPr lang="sv-SE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Vad är uppföljningsbart hos oss redan nu?</a:t>
            </a:r>
            <a:endParaRPr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99F76A-BE0A-4578-809C-BF0E5E1A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716" y="36418"/>
            <a:ext cx="10515600" cy="753650"/>
          </a:xfrm>
        </p:spPr>
        <p:txBody>
          <a:bodyPr>
            <a:normAutofit/>
          </a:bodyPr>
          <a:lstStyle/>
          <a:p>
            <a:r>
              <a:rPr lang="sv-SE" sz="3600" dirty="0"/>
              <a:t>Deltagare</a:t>
            </a:r>
          </a:p>
        </p:txBody>
      </p:sp>
      <p:graphicFrame>
        <p:nvGraphicFramePr>
          <p:cNvPr id="6" name="Platshållare för innehåll 5">
            <a:extLst>
              <a:ext uri="{FF2B5EF4-FFF2-40B4-BE49-F238E27FC236}">
                <a16:creationId xmlns:a16="http://schemas.microsoft.com/office/drawing/2014/main" id="{C7B166F5-64E0-4B0E-B230-0D996B257C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537829"/>
              </p:ext>
            </p:extLst>
          </p:nvPr>
        </p:nvGraphicFramePr>
        <p:xfrm>
          <a:off x="580293" y="889892"/>
          <a:ext cx="11002107" cy="4876912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733384">
                  <a:extLst>
                    <a:ext uri="{9D8B030D-6E8A-4147-A177-3AD203B41FA5}">
                      <a16:colId xmlns:a16="http://schemas.microsoft.com/office/drawing/2014/main" val="3973459589"/>
                    </a:ext>
                  </a:extLst>
                </a:gridCol>
                <a:gridCol w="3547091">
                  <a:extLst>
                    <a:ext uri="{9D8B030D-6E8A-4147-A177-3AD203B41FA5}">
                      <a16:colId xmlns:a16="http://schemas.microsoft.com/office/drawing/2014/main" val="138910382"/>
                    </a:ext>
                  </a:extLst>
                </a:gridCol>
                <a:gridCol w="3721632">
                  <a:extLst>
                    <a:ext uri="{9D8B030D-6E8A-4147-A177-3AD203B41FA5}">
                      <a16:colId xmlns:a16="http://schemas.microsoft.com/office/drawing/2014/main" val="4160860710"/>
                    </a:ext>
                  </a:extLst>
                </a:gridCol>
              </a:tblGrid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Nam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+mn-lt"/>
                          <a:ea typeface="+mn-ea"/>
                          <a:cs typeface="+mn-cs"/>
                        </a:rPr>
                        <a:t>Yrkesroll/motsvarande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Region/sjukvårdsregio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72365883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r>
                        <a:rPr lang="sv-SE" sz="1800" b="0" i="1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rbetsgruppens medlemmar </a:t>
                      </a:r>
                      <a:endParaRPr lang="sv-SE" dirty="0"/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739928518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Zuzana Potácová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Överläkare Klinisk patologi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Stockholm 	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726488147"/>
                  </a:ext>
                </a:extLst>
              </a:tr>
              <a:tr h="3220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harlotte Höög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Överläkare gastroenterologi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Stockholm 	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043800923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ntus Karling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Överläkare gastroenterologi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Västerbotten 	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678734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da Gustavsson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jektledare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Örebro 	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42428081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tin Rejler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Överläkare gastroenterologi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Jönköpings län 	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912211026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lin Bjerding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äkare allmänmedicin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Västra Götaland 	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492334297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Jonas </a:t>
                      </a:r>
                      <a:r>
                        <a:rPr lang="sv-SE" sz="18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alfvarsson</a:t>
                      </a: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Överläkare gastroenterologi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Örebro 	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416074106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iklas Tiedje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tientföreträdare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772251599"/>
                  </a:ext>
                </a:extLst>
              </a:tr>
              <a:tr h="325348">
                <a:tc gridSpan="3">
                  <a:txBody>
                    <a:bodyPr/>
                    <a:lstStyle/>
                    <a:p>
                      <a:r>
                        <a:rPr lang="sv-SE" sz="1800" b="0" i="1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rån nationellt vårdprogram för vuxna med IBD har följande personer deltagit i framtagandet av vårdförlopp IBD </a:t>
                      </a:r>
                      <a:endParaRPr lang="sv-SE" dirty="0"/>
                    </a:p>
                  </a:txBody>
                  <a:tcPr marL="75438" marR="75438" marT="0" marB="0"/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 marL="75438" marR="75438" marT="0" marB="0"/>
                </a:tc>
                <a:tc hMerge="1">
                  <a:txBody>
                    <a:bodyPr/>
                    <a:lstStyle/>
                    <a:p>
                      <a:endParaRPr lang="sv-SE" dirty="0"/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55066421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lof Grip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Överläkare gastroenterologi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Skåne 	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05041205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exandra Vulcan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ietist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Skåne 	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86111862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atarina Pihl Lesnovska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pecialistsjuksköterska 	</a:t>
                      </a: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Östergötland 	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254374590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roline Nordenvall</a:t>
                      </a:r>
                      <a:endParaRPr lang="sv-SE" dirty="0"/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Överläkare </a:t>
                      </a:r>
                      <a:r>
                        <a:rPr lang="sv-SE" sz="1800" b="0" i="0" u="none" strike="noStrike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olorektalkirurgi</a:t>
                      </a:r>
                      <a:endParaRPr lang="sv-SE" sz="18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Stockholm</a:t>
                      </a:r>
                      <a:endParaRPr lang="sv-SE" dirty="0"/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952780841"/>
                  </a:ext>
                </a:extLst>
              </a:tr>
            </a:tbl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4123DFDD-0D59-44C2-8AE7-01ADC4130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ruta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BD hos vuxna</a:t>
            </a:r>
          </a:p>
        </p:txBody>
      </p:sp>
      <p:sp>
        <p:nvSpPr>
          <p:cNvPr id="7" name="Google Shape;295;p17"/>
          <p:cNvSpPr/>
          <p:nvPr/>
        </p:nvSpPr>
        <p:spPr>
          <a:xfrm>
            <a:off x="580293" y="5901453"/>
            <a:ext cx="9686655" cy="684000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rgbClr val="285B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/>
            <a:r>
              <a:rPr lang="sv-SE" sz="16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Från nationellt vårdprogram för vuxna med IBD har följande personer korrekturläst: Arvid Hamrin. Jonas Bengtsson, Pernilla Stenström, Ragna Wivast, Lennart Blomqvist (adjungerad), Ulrika L. Fagerberg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906383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" name="Google Shape;305;p18"/>
          <p:cNvSpPr/>
          <p:nvPr/>
        </p:nvSpPr>
        <p:spPr>
          <a:xfrm rot="-2707823">
            <a:off x="-106693" y="452933"/>
            <a:ext cx="1391149" cy="276999"/>
          </a:xfrm>
          <a:prstGeom prst="rect">
            <a:avLst/>
          </a:prstGeom>
          <a:solidFill>
            <a:schemeClr val="accent1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200"/>
              <a:buFont typeface="Arial"/>
              <a:buNone/>
            </a:pPr>
            <a:r>
              <a:rPr lang="sv-SE" sz="1200" b="1" i="1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Sammanfattning</a:t>
            </a:r>
            <a:endParaRPr/>
          </a:p>
        </p:txBody>
      </p:sp>
      <p:sp>
        <p:nvSpPr>
          <p:cNvPr id="302" name="Google Shape;302;p18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None/>
            </a:pPr>
            <a:r>
              <a:rPr lang="sv-SE"/>
              <a:t>Personcentrerat och sammanhållet vårdförlopp för Inflammatorisk tarmsjukdom (IBD) hos vuxna</a:t>
            </a:r>
            <a:endParaRPr/>
          </a:p>
        </p:txBody>
      </p:sp>
      <p:sp>
        <p:nvSpPr>
          <p:cNvPr id="306" name="Google Shape;306;p18"/>
          <p:cNvSpPr/>
          <p:nvPr/>
        </p:nvSpPr>
        <p:spPr>
          <a:xfrm>
            <a:off x="895252" y="1231661"/>
            <a:ext cx="10308008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77D7A"/>
              </a:buClr>
              <a:buSzPts val="1800"/>
              <a:buFont typeface="Calibri"/>
              <a:buNone/>
            </a:pPr>
            <a:r>
              <a:rPr lang="sv-SE" sz="1800" b="0" i="1" u="none" strike="noStrike" cap="none" dirty="0">
                <a:solidFill>
                  <a:srgbClr val="377D7A"/>
                </a:solidFill>
                <a:latin typeface="Calibri"/>
                <a:ea typeface="Calibri"/>
                <a:cs typeface="Calibri"/>
                <a:sym typeface="Calibri"/>
              </a:rPr>
              <a:t>Vårdförlopp IBD hos vuxna </a:t>
            </a:r>
            <a:r>
              <a:rPr lang="sv-SE" sz="1800" b="1" i="1" u="none" strike="noStrike" cap="none" dirty="0">
                <a:solidFill>
                  <a:srgbClr val="377D7A"/>
                </a:solidFill>
                <a:latin typeface="Calibri"/>
                <a:ea typeface="Calibri"/>
                <a:cs typeface="Calibri"/>
                <a:sym typeface="Calibri"/>
              </a:rPr>
              <a:t>inleds</a:t>
            </a:r>
            <a:r>
              <a:rPr lang="sv-SE" sz="1800" b="0" i="1" u="none" strike="noStrike" cap="none" dirty="0">
                <a:solidFill>
                  <a:srgbClr val="377D7A"/>
                </a:solidFill>
                <a:latin typeface="Calibri"/>
                <a:ea typeface="Calibri"/>
                <a:cs typeface="Calibri"/>
                <a:sym typeface="Calibri"/>
              </a:rPr>
              <a:t> vid misstanke om sjukdomen, fortsätter vid bekräftad diagnos och </a:t>
            </a:r>
            <a:r>
              <a:rPr lang="sv-SE" sz="1800" b="1" i="1" u="none" strike="noStrike" cap="none" dirty="0">
                <a:solidFill>
                  <a:srgbClr val="377D7A"/>
                </a:solidFill>
                <a:latin typeface="Calibri"/>
                <a:ea typeface="Calibri"/>
                <a:cs typeface="Calibri"/>
                <a:sym typeface="Calibri"/>
              </a:rPr>
              <a:t>avslutas</a:t>
            </a:r>
            <a:r>
              <a:rPr lang="sv-SE" sz="1800" b="0" i="1" u="none" strike="noStrike" cap="none" dirty="0">
                <a:solidFill>
                  <a:srgbClr val="377D7A"/>
                </a:solidFill>
                <a:latin typeface="Calibri"/>
                <a:ea typeface="Calibri"/>
                <a:cs typeface="Calibri"/>
                <a:sym typeface="Calibri"/>
              </a:rPr>
              <a:t> efter uppföljningsbesöket ett år efter att diagnosen fastställdes. </a:t>
            </a:r>
            <a:endParaRPr sz="1800" b="0" i="0" u="none" strike="noStrike" cap="none" dirty="0">
              <a:solidFill>
                <a:srgbClr val="377D7A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3" name="Google Shape;303;p18"/>
          <p:cNvSpPr/>
          <p:nvPr/>
        </p:nvSpPr>
        <p:spPr>
          <a:xfrm>
            <a:off x="988740" y="2283855"/>
            <a:ext cx="4883141" cy="3425837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0000" rIns="91425" bIns="45700" anchor="t" anchorCtr="0">
            <a:noAutofit/>
          </a:bodyPr>
          <a:lstStyle/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endParaRPr lang="sv-SE" sz="18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sv-SE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Åtgärder</a:t>
            </a:r>
            <a:r>
              <a:rPr lang="sv-SE" sz="18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baseras på vårdprogrammet, nationella oc</a:t>
            </a:r>
            <a:r>
              <a:rPr lang="sv-SE" sz="1800" dirty="0">
                <a:latin typeface="Calibri"/>
                <a:ea typeface="Calibri"/>
                <a:cs typeface="Calibri"/>
                <a:sym typeface="Calibri"/>
              </a:rPr>
              <a:t>h internationella </a:t>
            </a:r>
            <a:r>
              <a:rPr lang="sv-SE" sz="18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riktlinjer</a:t>
            </a:r>
            <a:endParaRPr dirty="0"/>
          </a:p>
          <a:p>
            <a:pPr marL="342900" marR="0" lvl="0" indent="-3429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sv-SE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Läkemedelsbehandling ges enligt en målstyrd behandlingsstrategi (</a:t>
            </a:r>
            <a:r>
              <a:rPr lang="sv-SE" sz="18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reat</a:t>
            </a:r>
            <a:r>
              <a:rPr lang="sv-SE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to </a:t>
            </a:r>
            <a:r>
              <a:rPr lang="sv-SE" sz="18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target</a:t>
            </a:r>
            <a:r>
              <a:rPr lang="sv-SE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)</a:t>
            </a:r>
            <a:endParaRPr dirty="0"/>
          </a:p>
          <a:p>
            <a:pPr marL="342900" marR="0" lvl="0" indent="-3429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sv-SE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O</a:t>
            </a:r>
            <a:r>
              <a:rPr lang="sv-SE" sz="18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mvårdnads- och rehabiliteringsinsatser från ett multiprofessionellt team omfattas</a:t>
            </a:r>
            <a:endParaRPr dirty="0"/>
          </a:p>
          <a:p>
            <a:pPr marL="342900" marR="0" lvl="0" indent="-3429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sv-SE" sz="18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Patienten är aktiv genom egenmonitorering och rapportering</a:t>
            </a:r>
            <a:endParaRPr dirty="0"/>
          </a:p>
          <a:p>
            <a:pPr marL="342900" marR="0" lvl="0" indent="-228600" algn="l" rtl="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228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4" name="Google Shape;304;p18"/>
          <p:cNvSpPr/>
          <p:nvPr/>
        </p:nvSpPr>
        <p:spPr>
          <a:xfrm>
            <a:off x="6382881" y="2283855"/>
            <a:ext cx="4883141" cy="3425836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0000" rIns="91425" bIns="45700" anchor="t" anchorCtr="0">
            <a:no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sv-SE" sz="1800" b="1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Mål är att:</a:t>
            </a:r>
            <a:endParaRPr dirty="0"/>
          </a:p>
          <a:p>
            <a:pPr marL="742950" marR="0" lvl="1" indent="-285750" algn="l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18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minska tiden till diagnos och start av     behandling </a:t>
            </a:r>
            <a:endParaRPr lang="sv-SE" dirty="0">
              <a:ea typeface="Calibri"/>
            </a:endParaRPr>
          </a:p>
          <a:p>
            <a:pPr marL="742950" marR="0" lvl="1" indent="-285750" algn="l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18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öka andelen patienter som snabbt uppnår och bibehåller remission</a:t>
            </a:r>
            <a:endParaRPr dirty="0"/>
          </a:p>
          <a:p>
            <a:pPr marR="0" lvl="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</a:pPr>
            <a:r>
              <a:rPr lang="sv-SE" sz="1800" b="1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Långsiktigt syfte </a:t>
            </a:r>
            <a:r>
              <a:rPr lang="sv-SE" sz="1800" b="1" dirty="0">
                <a:latin typeface="Calibri"/>
                <a:ea typeface="Calibri"/>
                <a:cs typeface="Calibri"/>
                <a:sym typeface="Calibri"/>
              </a:rPr>
              <a:t>är att:</a:t>
            </a:r>
            <a:endParaRPr sz="1800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742950" marR="0" lvl="1" indent="-285750" algn="l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18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minska andelen patienter som utvecklar bestående tarmfunktionsnedsättning eller komplikationer av IBD och att bästa möjliga livskvalitet för patienten uppnås</a:t>
            </a:r>
            <a:endParaRPr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Google Shape;312;p19"/>
          <p:cNvSpPr txBox="1">
            <a:spLocks noGrp="1"/>
          </p:cNvSpPr>
          <p:nvPr>
            <p:ph type="ctrTitle"/>
          </p:nvPr>
        </p:nvSpPr>
        <p:spPr>
          <a:xfrm>
            <a:off x="989013" y="56562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sv-SE" dirty="0"/>
              <a:t>Mer information och stöd</a:t>
            </a:r>
            <a:endParaRPr dirty="0"/>
          </a:p>
        </p:txBody>
      </p:sp>
      <p:sp>
        <p:nvSpPr>
          <p:cNvPr id="313" name="Google Shape;313;p19"/>
          <p:cNvSpPr txBox="1">
            <a:spLocks noGrp="1"/>
          </p:cNvSpPr>
          <p:nvPr>
            <p:ph type="body" idx="1"/>
          </p:nvPr>
        </p:nvSpPr>
        <p:spPr>
          <a:xfrm>
            <a:off x="989013" y="1413069"/>
            <a:ext cx="5148385" cy="41852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34290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</a:pPr>
            <a:r>
              <a:rPr lang="sv-SE" dirty="0"/>
              <a:t>Mer information och presentationsmaterial för personcentrerade och sammanhållna vårdförlopp finns på </a:t>
            </a:r>
            <a:r>
              <a:rPr lang="sv-SE" u="sng" dirty="0">
                <a:solidFill>
                  <a:schemeClr val="hlink"/>
                </a:solidFill>
                <a:hlinkClick r:id="rId3"/>
              </a:rPr>
              <a:t>www.kunskapsstyrningvard.se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dirty="0"/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</a:pPr>
            <a:r>
              <a:rPr lang="sv-SE" dirty="0"/>
              <a:t>Vårdförloppen finns tillgängliga i regionernas gemensamma system för kunskapsstöd </a:t>
            </a:r>
            <a:r>
              <a:rPr lang="sv-SE" u="sng" dirty="0">
                <a:solidFill>
                  <a:schemeClr val="hlink"/>
                </a:solidFill>
                <a:hlinkClick r:id="rId4"/>
              </a:rPr>
              <a:t>NKK</a:t>
            </a:r>
            <a:endParaRPr dirty="0"/>
          </a:p>
        </p:txBody>
      </p:sp>
      <p:sp>
        <p:nvSpPr>
          <p:cNvPr id="314" name="Google Shape;314;p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200" dirty="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IBD hos vuxna</a:t>
            </a:r>
            <a:endParaRPr dirty="0"/>
          </a:p>
        </p:txBody>
      </p:sp>
      <p:sp>
        <p:nvSpPr>
          <p:cNvPr id="315" name="Google Shape;315;p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27053" y="1306742"/>
            <a:ext cx="5036863" cy="3998903"/>
          </a:xfrm>
          <a:prstGeom prst="rect">
            <a:avLst/>
          </a:prstGeom>
          <a:solidFill>
            <a:srgbClr val="D1EAE9"/>
          </a:solidFill>
          <a:ln w="12700" cap="flat" cmpd="sng">
            <a:solidFill>
              <a:srgbClr val="285B5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6" name="Google Shape;316;p1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731289" y="4558684"/>
            <a:ext cx="4890095" cy="2616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Calibri"/>
              <a:buNone/>
            </a:pPr>
            <a:r>
              <a:rPr lang="sv-SE" sz="1100" b="0" i="0" u="sng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  <a:hlinkClick r:id="rId5"/>
              </a:rPr>
              <a:t>LÄNK:</a:t>
            </a:r>
            <a:endParaRPr sz="1100" u="sng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  <a:hlinkClick r:id="rId6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</p:txBody>
      </p:sp>
      <p:sp>
        <p:nvSpPr>
          <p:cNvPr id="317" name="Google Shape;317;p19"/>
          <p:cNvSpPr txBox="1"/>
          <p:nvPr/>
        </p:nvSpPr>
        <p:spPr>
          <a:xfrm>
            <a:off x="6627053" y="1306742"/>
            <a:ext cx="4910325" cy="1564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ilmer</a:t>
            </a:r>
            <a:r>
              <a:rPr lang="sv-SE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6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eskriver mål och syfte med vårdförloppet utifrån ett patient- och vårdgivarperspektiv. De intervjuade är ordförande respektive patientrepresentant för den nationella arbetsgrupp (NAG) som har tagit fram vårdförloppet.</a:t>
            </a:r>
            <a:endParaRPr dirty="0"/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9DEC3BD1-E02F-4E45-9488-12B8B88EF0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248746" y="3248861"/>
            <a:ext cx="2604897" cy="1465255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DE37282-79BC-40F6-AD6F-3EAF45F04B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56642" y="3544625"/>
            <a:ext cx="2604897" cy="1465256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2"/>
          <p:cNvSpPr txBox="1">
            <a:spLocks noGrp="1"/>
          </p:cNvSpPr>
          <p:nvPr>
            <p:ph type="ctrTitle"/>
          </p:nvPr>
        </p:nvSpPr>
        <p:spPr>
          <a:xfrm>
            <a:off x="625119" y="346077"/>
            <a:ext cx="1094484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None/>
            </a:pPr>
            <a:r>
              <a:rPr lang="sv-SE" dirty="0"/>
              <a:t>Syftet med personcentrerade och sammanhållna vårdförlopp </a:t>
            </a:r>
            <a:endParaRPr dirty="0"/>
          </a:p>
        </p:txBody>
      </p:sp>
      <p:sp>
        <p:nvSpPr>
          <p:cNvPr id="138" name="Google Shape;138;p2"/>
          <p:cNvSpPr txBox="1">
            <a:spLocks noGrp="1"/>
          </p:cNvSpPr>
          <p:nvPr>
            <p:ph type="body" idx="1"/>
          </p:nvPr>
        </p:nvSpPr>
        <p:spPr>
          <a:xfrm>
            <a:off x="625119" y="1150228"/>
            <a:ext cx="5673044" cy="43812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lnSpcReduction="10000"/>
          </a:bodyPr>
          <a:lstStyle/>
          <a:p>
            <a:pPr marL="342900" lvl="0" indent="-1905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dirty="0"/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</a:pPr>
            <a:r>
              <a:rPr lang="sv-SE" dirty="0"/>
              <a:t>Syftet är att öka jämlikheten, effektiviteten och kvaliteten i vården utan att det medför onödig administrativ börda för sjukvårdspersonal.</a:t>
            </a:r>
            <a:endParaRPr dirty="0"/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</a:pPr>
            <a:r>
              <a:rPr lang="sv-SE" dirty="0"/>
              <a:t>Patienter ska uppleva en mer välorganiserad och helhetsorienterad process utan onödig väntetid i samband med utredning och behandling. </a:t>
            </a:r>
            <a:endParaRPr dirty="0"/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</a:pPr>
            <a:r>
              <a:rPr lang="sv-SE" dirty="0"/>
              <a:t>Patienternas livskvalitet och nöjdhet med vården ska förbättras och vården bli mer jämlik och jämställd. </a:t>
            </a:r>
            <a:endParaRPr dirty="0"/>
          </a:p>
          <a:p>
            <a:pPr marL="342900" lvl="0" indent="-1905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</a:pPr>
            <a:endParaRPr dirty="0"/>
          </a:p>
        </p:txBody>
      </p:sp>
      <p:pic>
        <p:nvPicPr>
          <p:cNvPr id="139" name="Google Shape;139;p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601149" y="1477001"/>
            <a:ext cx="5587548" cy="3727693"/>
          </a:xfrm>
          <a:prstGeom prst="rect">
            <a:avLst/>
          </a:prstGeom>
          <a:noFill/>
          <a:ln>
            <a:noFill/>
          </a:ln>
        </p:spPr>
      </p:pic>
      <p:sp>
        <p:nvSpPr>
          <p:cNvPr id="140" name="Google Shape;140;p2"/>
          <p:cNvSpPr/>
          <p:nvPr/>
        </p:nvSpPr>
        <p:spPr>
          <a:xfrm>
            <a:off x="625120" y="5346989"/>
            <a:ext cx="5786832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r>
              <a:rPr lang="sv-SE" sz="18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”</a:t>
            </a:r>
            <a:r>
              <a:rPr lang="sv-SE" sz="1600" b="1" i="1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Patienter, brukare och hälso-och sjukvårdens medarbetare ska vara trygga i att bästa tillgängliga kunskap används i varje möte”</a:t>
            </a:r>
            <a:endParaRPr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3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sv-SE" dirty="0"/>
              <a:t>Regionerna i samverkan</a:t>
            </a:r>
            <a:endParaRPr dirty="0"/>
          </a:p>
        </p:txBody>
      </p:sp>
      <p:sp>
        <p:nvSpPr>
          <p:cNvPr id="147" name="Google Shape;147;p3"/>
          <p:cNvSpPr txBox="1">
            <a:spLocks noGrp="1"/>
          </p:cNvSpPr>
          <p:nvPr>
            <p:ph type="body" idx="1"/>
          </p:nvPr>
        </p:nvSpPr>
        <p:spPr>
          <a:xfrm>
            <a:off x="988743" y="1543698"/>
            <a:ext cx="6449288" cy="40351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34290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sv-SE" sz="2000" dirty="0"/>
              <a:t>Arbetet med vårdförloppen utgår från en överenskommelse mellan staten och Sveriges Kommuner och Regioner (SKR).</a:t>
            </a:r>
            <a:endParaRPr dirty="0"/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sv-SE" sz="2000" dirty="0"/>
              <a:t>Regeringen vill med satsningen stödja utvecklingsarbetet i regionerna kring kunskapsstyrning i hälso- och sjukvården. </a:t>
            </a:r>
            <a:endParaRPr dirty="0"/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sv-SE" sz="2000" dirty="0"/>
              <a:t>Vårdförloppen tas fram av regionerna inom Nationellt system för kunskapsstyrning Hälso- och sjukvård.</a:t>
            </a:r>
            <a:endParaRPr dirty="0"/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sv-SE" sz="2000" dirty="0"/>
              <a:t>Vårdförloppen är primärt ett kunskapsstöd för hälso- och sjukvårdspersonal i det kliniska mötet med patient och närstående</a:t>
            </a:r>
            <a:endParaRPr dirty="0"/>
          </a:p>
          <a:p>
            <a:pPr marL="34290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</a:pPr>
            <a:r>
              <a:rPr lang="sv-SE" sz="2000" dirty="0"/>
              <a:t>Vårdförloppen ska utgå ifrån tillförlitliga och aktuella kunskapsstöd och baseras på bästa tillgängliga kunskap om vård och behandling.</a:t>
            </a:r>
            <a:endParaRPr dirty="0"/>
          </a:p>
          <a:p>
            <a:pPr marL="342900" lvl="0" indent="-215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</a:pPr>
            <a:endParaRPr sz="200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Calibri"/>
              <a:buNone/>
            </a:pPr>
            <a:endParaRPr sz="2000" dirty="0"/>
          </a:p>
        </p:txBody>
      </p:sp>
      <p:pic>
        <p:nvPicPr>
          <p:cNvPr id="148" name="Google Shape;148;p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27372"/>
          <a:stretch/>
        </p:blipFill>
        <p:spPr>
          <a:xfrm>
            <a:off x="7894224" y="1624979"/>
            <a:ext cx="4297776" cy="325470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4"/>
          <p:cNvSpPr txBox="1">
            <a:spLocks noGrp="1"/>
          </p:cNvSpPr>
          <p:nvPr>
            <p:ph type="ctrTitle"/>
          </p:nvPr>
        </p:nvSpPr>
        <p:spPr>
          <a:xfrm>
            <a:off x="988741" y="725610"/>
            <a:ext cx="9594591" cy="5346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A8695"/>
              </a:buClr>
              <a:buSzPts val="3600"/>
              <a:buFont typeface="Calibri"/>
              <a:buNone/>
            </a:pPr>
            <a:r>
              <a:rPr lang="sv-SE" dirty="0">
                <a:solidFill>
                  <a:srgbClr val="5A8695"/>
                </a:solidFill>
              </a:rPr>
              <a:t>Personcentrerat och sammanhållet vårdförlopp för Inflammatorisk tarmsjukdom (IBD) hos vuxna</a:t>
            </a:r>
            <a:endParaRPr dirty="0"/>
          </a:p>
        </p:txBody>
      </p:sp>
      <p:sp>
        <p:nvSpPr>
          <p:cNvPr id="158" name="Google Shape;158;p4"/>
          <p:cNvSpPr/>
          <p:nvPr/>
        </p:nvSpPr>
        <p:spPr>
          <a:xfrm>
            <a:off x="895252" y="1260236"/>
            <a:ext cx="10102942" cy="64633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800" b="0" i="1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Vårdförlopp IBD hos vuxna </a:t>
            </a:r>
            <a:r>
              <a:rPr lang="sv-SE" sz="1800" b="1" i="1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inleds</a:t>
            </a:r>
            <a:r>
              <a:rPr lang="sv-SE" sz="1800" b="0" i="1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 vid misstanke om sjukdomen, fortsätter vid bekräftad diagnos och </a:t>
            </a:r>
            <a:r>
              <a:rPr lang="sv-SE" sz="1800" b="1" i="1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avslutas</a:t>
            </a:r>
            <a:r>
              <a:rPr lang="sv-SE" sz="1800" b="0" i="1" u="none" strike="noStrike" cap="none" dirty="0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 efter uppföljningsbesöket ett år efter att diagnosen fastställdes. </a:t>
            </a:r>
            <a:endParaRPr dirty="0"/>
          </a:p>
        </p:txBody>
      </p:sp>
      <p:sp>
        <p:nvSpPr>
          <p:cNvPr id="156" name="Google Shape;156;p4"/>
          <p:cNvSpPr/>
          <p:nvPr/>
        </p:nvSpPr>
        <p:spPr>
          <a:xfrm>
            <a:off x="988741" y="2146727"/>
            <a:ext cx="4797295" cy="3650832"/>
          </a:xfrm>
          <a:prstGeom prst="rect">
            <a:avLst/>
          </a:prstGeom>
          <a:solidFill>
            <a:srgbClr val="D1EAE9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Calibri"/>
              <a:buNone/>
            </a:pPr>
            <a:r>
              <a:rPr lang="sv-SE" sz="20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Ingång till vårdförloppet sker</a:t>
            </a:r>
            <a:endParaRPr dirty="0"/>
          </a:p>
          <a:p>
            <a:pPr marL="342900" marR="0" lvl="0" indent="-3429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sv-SE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när misstanke om IBD kvarstår efter grundläggande IBD-utredning som omfattar</a:t>
            </a:r>
            <a:endParaRPr dirty="0"/>
          </a:p>
          <a:p>
            <a:pPr marL="800100" marR="0" lvl="1" indent="-3429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sv-SE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Anamnes </a:t>
            </a:r>
            <a:endParaRPr dirty="0"/>
          </a:p>
          <a:p>
            <a:pPr marL="800100" marR="0" lvl="1" indent="-3429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sv-SE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Status inkl. rektoskopi </a:t>
            </a:r>
            <a:endParaRPr sz="20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800100" marR="0" lvl="1" indent="-3429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sv-SE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Laboratorieprover inkl. fekalt </a:t>
            </a:r>
            <a:r>
              <a:rPr lang="sv-SE" sz="2000" b="0" i="0" u="none" strike="noStrike" cap="none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kalprotektin</a:t>
            </a:r>
            <a:endParaRPr sz="20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endParaRPr sz="2000" b="0" i="0" u="none" strike="noStrike" cap="none" dirty="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" name="Google Shape;157;p4"/>
          <p:cNvSpPr/>
          <p:nvPr/>
        </p:nvSpPr>
        <p:spPr>
          <a:xfrm>
            <a:off x="6297423" y="2146727"/>
            <a:ext cx="4700771" cy="3650832"/>
          </a:xfrm>
          <a:prstGeom prst="rect">
            <a:avLst/>
          </a:prstGeom>
          <a:solidFill>
            <a:srgbClr val="D1EAE9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000" b="1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Utgång ur vårdförloppet sker om</a:t>
            </a:r>
            <a:endParaRPr dirty="0"/>
          </a:p>
          <a:p>
            <a:pPr marL="342900" marR="0" lvl="0" indent="-3429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sv-SE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iagnos IBD kan inte fastställas efter genomgången utredning eller</a:t>
            </a:r>
            <a:endParaRPr dirty="0"/>
          </a:p>
          <a:p>
            <a:pPr marL="342900" marR="0" lvl="0" indent="-3429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Char char="•"/>
            </a:pPr>
            <a:r>
              <a:rPr lang="sv-SE" sz="2000" b="0" i="0" u="none" strike="noStrike" cap="none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patienten har genomgått uppföljningsbesök ett år efter fastställd diagnos.</a:t>
            </a:r>
            <a:endParaRPr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>
            <a:extLst>
              <a:ext uri="{FF2B5EF4-FFF2-40B4-BE49-F238E27FC236}">
                <a16:creationId xmlns:a16="http://schemas.microsoft.com/office/drawing/2014/main" id="{42C215C8-1801-48D4-8802-19704F66ED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35000"/>
          </a:blip>
          <a:stretch>
            <a:fillRect/>
          </a:stretch>
        </p:blipFill>
        <p:spPr>
          <a:xfrm rot="572920">
            <a:off x="4871388" y="192762"/>
            <a:ext cx="2843887" cy="6224186"/>
          </a:xfrm>
          <a:prstGeom prst="rect">
            <a:avLst/>
          </a:prstGeom>
        </p:spPr>
      </p:pic>
      <p:sp>
        <p:nvSpPr>
          <p:cNvPr id="164" name="Google Shape;164;p5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sv-SE" dirty="0"/>
              <a:t>Nationell variation</a:t>
            </a:r>
            <a:endParaRPr dirty="0"/>
          </a:p>
        </p:txBody>
      </p:sp>
      <p:sp>
        <p:nvSpPr>
          <p:cNvPr id="165" name="Google Shape;165;p5"/>
          <p:cNvSpPr txBox="1">
            <a:spLocks noGrp="1"/>
          </p:cNvSpPr>
          <p:nvPr>
            <p:ph type="body" idx="1"/>
          </p:nvPr>
        </p:nvSpPr>
        <p:spPr>
          <a:xfrm>
            <a:off x="989013" y="1422400"/>
            <a:ext cx="5106987" cy="3982114"/>
          </a:xfrm>
          <a:prstGeom prst="rect">
            <a:avLst/>
          </a:prstGeom>
          <a:solidFill>
            <a:srgbClr val="D1EAE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0000" rIns="91425" bIns="45700" anchor="t" anchorCtr="0">
            <a:normAutofit fontScale="25000" lnSpcReduction="20000"/>
          </a:bodyPr>
          <a:lstStyle/>
          <a:p>
            <a:pPr marL="3429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endParaRPr lang="sv-SE" sz="8000" dirty="0">
              <a:solidFill>
                <a:srgbClr val="000000"/>
              </a:solidFill>
            </a:endParaRPr>
          </a:p>
          <a:p>
            <a:pPr marL="3429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8000" dirty="0">
                <a:solidFill>
                  <a:srgbClr val="000000"/>
                </a:solidFill>
              </a:rPr>
              <a:t>Tidig diagnos, initial karakterisering och insättande av adekvat behandling förbättrar prognosen vid IBD</a:t>
            </a:r>
          </a:p>
          <a:p>
            <a:pPr marL="3429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endParaRPr lang="sv-SE" sz="8000" dirty="0"/>
          </a:p>
          <a:p>
            <a:pPr marL="342900" lvl="0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8000" dirty="0">
                <a:solidFill>
                  <a:srgbClr val="000000"/>
                </a:solidFill>
              </a:rPr>
              <a:t>Svenska kvalitetsregistret för IBD (SWIBREG) och patientregistret liksom information från företrädare för vården pekar på omotiverade regionala skillnader avseende:</a:t>
            </a:r>
            <a:endParaRPr sz="8000" dirty="0"/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SzPct val="100000"/>
              <a:buNone/>
            </a:pPr>
            <a:r>
              <a:rPr lang="sv-SE" sz="7200" dirty="0">
                <a:solidFill>
                  <a:srgbClr val="000000"/>
                </a:solidFill>
              </a:rPr>
              <a:t>- Ledtid till diagnostisk ileokoloskopi eller första besök i gastroenterologisk specialiserad vård </a:t>
            </a:r>
            <a:endParaRPr sz="7200" dirty="0"/>
          </a:p>
          <a:p>
            <a:pPr marL="457200" lvl="1" indent="0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SzPct val="100000"/>
              <a:buNone/>
            </a:pPr>
            <a:r>
              <a:rPr lang="sv-SE" sz="7200" dirty="0">
                <a:solidFill>
                  <a:srgbClr val="000000"/>
                </a:solidFill>
              </a:rPr>
              <a:t>- Andel som behandlas med ”targeted therapies” eller genomgår specifika kirurgiska ingrepp</a:t>
            </a:r>
          </a:p>
          <a:p>
            <a:pPr marL="1600200" lvl="1" indent="-1143000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SzPct val="100000"/>
              <a:buFont typeface="Courier New" panose="02070309020205020404" pitchFamily="49" charset="0"/>
              <a:buChar char="o"/>
            </a:pPr>
            <a:endParaRPr lang="sv-SE" sz="8000"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ct val="100000"/>
              <a:buFont typeface="Calibri"/>
              <a:buNone/>
            </a:pPr>
            <a:endParaRPr dirty="0"/>
          </a:p>
        </p:txBody>
      </p:sp>
      <p:sp>
        <p:nvSpPr>
          <p:cNvPr id="166" name="Google Shape;166;p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20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IBD hos vuxna</a:t>
            </a:r>
            <a:endParaRPr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7FA1A2AB-A7C8-42E1-B4DC-E4BC10BD22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599255" y="1422400"/>
            <a:ext cx="5254388" cy="39821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4511405A-3F9C-410E-A084-C70732BB49CD}"/>
              </a:ext>
            </a:extLst>
          </p:cNvPr>
          <p:cNvSpPr txBox="1"/>
          <p:nvPr/>
        </p:nvSpPr>
        <p:spPr>
          <a:xfrm>
            <a:off x="6796586" y="1758932"/>
            <a:ext cx="5254387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tienter uttrycker att utredningen är utdragen och att information, samordning och delaktighet är bristande</a:t>
            </a:r>
          </a:p>
          <a:p>
            <a:pPr marL="342900" lvl="0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endParaRPr lang="sv-SE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lvl="0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g- och tarmförbundet rapporterar att vården brister gällande individanpassad information och efterfrågar en holistisk och personlig vård</a:t>
            </a:r>
            <a:endParaRPr lang="sv-SE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sv-SE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" name="Google Shape;172;p6"/>
          <p:cNvSpPr txBox="1">
            <a:spLocks noGrp="1"/>
          </p:cNvSpPr>
          <p:nvPr>
            <p:ph type="ctrTitle"/>
          </p:nvPr>
        </p:nvSpPr>
        <p:spPr>
          <a:xfrm>
            <a:off x="4776131" y="903444"/>
            <a:ext cx="8630519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Calibri"/>
              <a:buNone/>
            </a:pPr>
            <a:r>
              <a:rPr lang="sv-SE" sz="2800" dirty="0"/>
              <a:t>Vårdförloppet utgår från </a:t>
            </a:r>
            <a:br>
              <a:rPr lang="sv-SE" sz="2800" dirty="0"/>
            </a:br>
            <a:r>
              <a:rPr lang="sv-SE" sz="2800" dirty="0"/>
              <a:t>tillförlitliga och aktuella kunskapsstöd</a:t>
            </a:r>
            <a:br>
              <a:rPr lang="sv-SE" sz="2800" dirty="0"/>
            </a:br>
            <a:r>
              <a:rPr lang="sv-SE" sz="2800" dirty="0"/>
              <a:t>och baseras på bästa tillgängliga kunskap</a:t>
            </a:r>
            <a:endParaRPr dirty="0"/>
          </a:p>
        </p:txBody>
      </p:sp>
      <p:sp>
        <p:nvSpPr>
          <p:cNvPr id="173" name="Google Shape;173;p6"/>
          <p:cNvSpPr txBox="1">
            <a:spLocks noGrp="1"/>
          </p:cNvSpPr>
          <p:nvPr>
            <p:ph type="body" idx="1"/>
          </p:nvPr>
        </p:nvSpPr>
        <p:spPr>
          <a:xfrm>
            <a:off x="4776131" y="1986866"/>
            <a:ext cx="5577865" cy="3320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0000" rIns="91425" bIns="45700" anchor="t" anchorCtr="0">
            <a:normAutofit lnSpcReduction="10000"/>
          </a:bodyPr>
          <a:lstStyle/>
          <a:p>
            <a:pPr marL="342900" lvl="0" indent="-3429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sv-SE" sz="2200" dirty="0">
                <a:solidFill>
                  <a:srgbClr val="000000"/>
                </a:solidFill>
              </a:rPr>
              <a:t>Nationellt vårdprogram för vuxna med IBD</a:t>
            </a:r>
            <a:endParaRPr sz="220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SzPts val="2400"/>
              <a:buFont typeface="Arial"/>
              <a:buChar char="•"/>
            </a:pPr>
            <a:r>
              <a:rPr lang="sv-SE" sz="2200" dirty="0">
                <a:solidFill>
                  <a:srgbClr val="000000"/>
                </a:solidFill>
              </a:rPr>
              <a:t>Europeiska (ECCO) rekommendationer för:</a:t>
            </a:r>
            <a:br>
              <a:rPr lang="sv-SE" sz="2200" dirty="0">
                <a:solidFill>
                  <a:srgbClr val="000000"/>
                </a:solidFill>
              </a:rPr>
            </a:br>
            <a:r>
              <a:rPr lang="sv-SE" sz="2200" dirty="0">
                <a:solidFill>
                  <a:srgbClr val="000000"/>
                </a:solidFill>
              </a:rPr>
              <a:t>	- Diagnos och monitorering av IBD</a:t>
            </a:r>
            <a:br>
              <a:rPr lang="sv-SE" sz="2200" dirty="0">
                <a:solidFill>
                  <a:srgbClr val="000000"/>
                </a:solidFill>
              </a:rPr>
            </a:br>
            <a:r>
              <a:rPr lang="sv-SE" sz="2200" dirty="0">
                <a:solidFill>
                  <a:srgbClr val="000000"/>
                </a:solidFill>
              </a:rPr>
              <a:t>	- Medicinsk behandling av IBD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Clr>
                <a:srgbClr val="000000"/>
              </a:buClr>
              <a:buSzPts val="2400"/>
            </a:pPr>
            <a:r>
              <a:rPr lang="sv-SE" sz="2200" dirty="0">
                <a:solidFill>
                  <a:srgbClr val="000000"/>
                </a:solidFill>
              </a:rPr>
              <a:t>	- Kirurgisk behandling av IBD</a:t>
            </a:r>
          </a:p>
          <a:p>
            <a:pPr marL="342900" lvl="0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sv-SE" sz="2200" dirty="0">
                <a:solidFill>
                  <a:srgbClr val="000000"/>
                </a:solidFill>
              </a:rPr>
              <a:t>Svensk Gastroenterologisk Förenings (SGF) riktlinjer</a:t>
            </a:r>
          </a:p>
          <a:p>
            <a:pPr marL="342900" lvl="0" indent="-3429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Char char="•"/>
            </a:pPr>
            <a:r>
              <a:rPr lang="sv-SE" sz="2200" dirty="0">
                <a:solidFill>
                  <a:srgbClr val="000000"/>
                </a:solidFill>
              </a:rPr>
              <a:t>Läkemedelsverkets behandlingsrekommendationer vid IBD</a:t>
            </a:r>
            <a:endParaRPr sz="2200" dirty="0">
              <a:solidFill>
                <a:srgbClr val="000000"/>
              </a:solidFill>
            </a:endParaRPr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Calibri"/>
              <a:buNone/>
            </a:pPr>
            <a:endParaRPr dirty="0"/>
          </a:p>
        </p:txBody>
      </p:sp>
      <p:pic>
        <p:nvPicPr>
          <p:cNvPr id="175" name="Google Shape;175;p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 l="22562" t="21573" r="7633"/>
          <a:stretch/>
        </p:blipFill>
        <p:spPr>
          <a:xfrm>
            <a:off x="-1" y="0"/>
            <a:ext cx="3916907" cy="664646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7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sv-SE" dirty="0"/>
              <a:t>Nulägesbeskrivning ur ett patientperspektiv</a:t>
            </a:r>
            <a:endParaRPr dirty="0"/>
          </a:p>
        </p:txBody>
      </p:sp>
      <p:sp>
        <p:nvSpPr>
          <p:cNvPr id="191" name="Google Shape;191;p7"/>
          <p:cNvSpPr txBox="1"/>
          <p:nvPr/>
        </p:nvSpPr>
        <p:spPr>
          <a:xfrm>
            <a:off x="4603002" y="1264938"/>
            <a:ext cx="1956241" cy="523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800" b="1">
                <a:solidFill>
                  <a:srgbClr val="D48A18"/>
                </a:solidFill>
                <a:latin typeface="Calibri"/>
                <a:ea typeface="Calibri"/>
                <a:cs typeface="Calibri"/>
                <a:sym typeface="Calibri"/>
              </a:rPr>
              <a:t>Utmaningar</a:t>
            </a:r>
            <a:endParaRPr/>
          </a:p>
        </p:txBody>
      </p:sp>
      <p:sp>
        <p:nvSpPr>
          <p:cNvPr id="189" name="Google Shape;189;p7"/>
          <p:cNvSpPr txBox="1">
            <a:spLocks noGrp="1"/>
          </p:cNvSpPr>
          <p:nvPr>
            <p:ph type="body" idx="1"/>
          </p:nvPr>
        </p:nvSpPr>
        <p:spPr>
          <a:xfrm>
            <a:off x="4603007" y="1788158"/>
            <a:ext cx="5407270" cy="792000"/>
          </a:xfrm>
          <a:prstGeom prst="rect">
            <a:avLst/>
          </a:prstGeom>
          <a:solidFill>
            <a:srgbClr val="F3CE9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</a:pPr>
            <a:r>
              <a:rPr lang="sv-SE">
                <a:solidFill>
                  <a:srgbClr val="000000"/>
                </a:solidFill>
              </a:rPr>
              <a:t>1) Utdragen utredning</a:t>
            </a:r>
            <a:endParaRPr/>
          </a:p>
          <a:p>
            <a:pPr marL="0" lvl="0" indent="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Calibri"/>
              <a:buNone/>
            </a:pPr>
            <a:endParaRPr sz="1600"/>
          </a:p>
        </p:txBody>
      </p:sp>
      <p:sp>
        <p:nvSpPr>
          <p:cNvPr id="182" name="Google Shape;182;p7"/>
          <p:cNvSpPr txBox="1"/>
          <p:nvPr/>
        </p:nvSpPr>
        <p:spPr>
          <a:xfrm>
            <a:off x="4603002" y="2898610"/>
            <a:ext cx="5407270" cy="792000"/>
          </a:xfrm>
          <a:prstGeom prst="rect">
            <a:avLst/>
          </a:prstGeom>
          <a:solidFill>
            <a:srgbClr val="F3CE9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</a:pPr>
            <a:r>
              <a:rPr lang="sv-SE"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2) Bristande information och samordning </a:t>
            </a:r>
            <a:endParaRPr sz="24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3" name="Google Shape;183;p7"/>
          <p:cNvSpPr txBox="1"/>
          <p:nvPr/>
        </p:nvSpPr>
        <p:spPr>
          <a:xfrm>
            <a:off x="4603003" y="4009062"/>
            <a:ext cx="5407270" cy="792000"/>
          </a:xfrm>
          <a:prstGeom prst="rect">
            <a:avLst/>
          </a:prstGeom>
          <a:solidFill>
            <a:srgbClr val="F3CE9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</a:pPr>
            <a:r>
              <a:rPr lang="sv-SE"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3) Bristande delaktighet</a:t>
            </a:r>
            <a:endParaRPr sz="2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4" name="Google Shape;184;p7"/>
          <p:cNvSpPr txBox="1"/>
          <p:nvPr/>
        </p:nvSpPr>
        <p:spPr>
          <a:xfrm>
            <a:off x="4603005" y="5143332"/>
            <a:ext cx="5407270" cy="792000"/>
          </a:xfrm>
          <a:prstGeom prst="rect">
            <a:avLst/>
          </a:prstGeom>
          <a:solidFill>
            <a:srgbClr val="F3CE9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Calibri"/>
              <a:buNone/>
            </a:pPr>
            <a:r>
              <a:rPr lang="sv-SE"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4) Tar lång tid att återfå livskvalitet</a:t>
            </a:r>
            <a:endParaRPr sz="24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" name="Google Shape;185;p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3" y="1969933"/>
            <a:ext cx="242490" cy="25480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48A18"/>
          </a:solidFill>
          <a:ln w="12700" cap="flat" cmpd="sng">
            <a:solidFill>
              <a:srgbClr val="D48A1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" name="Google Shape;186;p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3" y="3119281"/>
            <a:ext cx="242490" cy="25480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48A18"/>
          </a:solidFill>
          <a:ln w="12700" cap="flat" cmpd="sng">
            <a:solidFill>
              <a:srgbClr val="D48A1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" name="Google Shape;187;p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3" y="4268629"/>
            <a:ext cx="242490" cy="25480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48A18"/>
          </a:solidFill>
          <a:ln w="12700" cap="flat" cmpd="sng">
            <a:solidFill>
              <a:srgbClr val="D48A1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8" name="Google Shape;188;p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3" y="5376418"/>
            <a:ext cx="242490" cy="254805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D48A18"/>
          </a:solidFill>
          <a:ln w="12700" cap="flat" cmpd="sng">
            <a:solidFill>
              <a:srgbClr val="D48A18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" name="Google Shape;190;p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20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IBD hos vuxna</a:t>
            </a:r>
            <a:endParaRPr/>
          </a:p>
        </p:txBody>
      </p:sp>
      <p:pic>
        <p:nvPicPr>
          <p:cNvPr id="192" name="Google Shape;192;p7" descr="Bilden visar schema för patientens erfarenheter och utmaningar genom vårdförloppe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0196" y="1368070"/>
            <a:ext cx="3446367" cy="487308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" name="Google Shape;209;p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88742" y="2018334"/>
            <a:ext cx="4838852" cy="3321753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spcFirstLastPara="1" wrap="square" lIns="91425" tIns="90000" rIns="91425" bIns="45700" anchor="t" anchorCtr="0">
            <a:noAutofit/>
          </a:bodyPr>
          <a:lstStyle/>
          <a:p>
            <a:pPr marL="180000" marR="0" lvl="0" indent="-27599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</a:pPr>
            <a:endParaRPr sz="24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0" name="Google Shape;210;p9"/>
          <p:cNvSpPr txBox="1"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5A8695"/>
              </a:buClr>
              <a:buSzPts val="3600"/>
              <a:buFont typeface="Calibri"/>
              <a:buNone/>
            </a:pPr>
            <a:r>
              <a:rPr lang="sv-SE" dirty="0">
                <a:solidFill>
                  <a:srgbClr val="5A8695"/>
                </a:solidFill>
              </a:rPr>
              <a:t>Vårdförloppets mål</a:t>
            </a:r>
            <a:endParaRPr dirty="0"/>
          </a:p>
        </p:txBody>
      </p:sp>
      <p:sp>
        <p:nvSpPr>
          <p:cNvPr id="213" name="Google Shape;213;p9"/>
          <p:cNvSpPr txBox="1"/>
          <p:nvPr/>
        </p:nvSpPr>
        <p:spPr>
          <a:xfrm>
            <a:off x="1195942" y="2255745"/>
            <a:ext cx="4155533" cy="30623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Det övergripande målet för vårdförlopp IBD är att  uppnå en God vård.</a:t>
            </a:r>
            <a:endParaRPr sz="2000" dirty="0"/>
          </a:p>
          <a:p>
            <a:pPr marL="0" marR="0" lvl="0" indent="0" algn="l" rtl="0">
              <a:spcBef>
                <a:spcPts val="600"/>
              </a:spcBef>
              <a:spcAft>
                <a:spcPts val="0"/>
              </a:spcAft>
              <a:buNone/>
            </a:pPr>
            <a:r>
              <a:rPr lang="sv-SE" sz="2000" b="1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Specifika mål: </a:t>
            </a:r>
            <a:endParaRPr sz="20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000" marR="0" lvl="0" indent="-1800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Minska tiden från misstanke om IBD till diagnos och start av behandling </a:t>
            </a:r>
            <a:endParaRPr sz="2000" dirty="0"/>
          </a:p>
          <a:p>
            <a:pPr marL="180000" marR="0" lvl="0" indent="-1800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Öka andelen patienter som snabbt uppnår och bibehåller </a:t>
            </a:r>
            <a:r>
              <a:rPr lang="sv-SE" sz="2000" dirty="0" err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remission</a:t>
            </a:r>
            <a:r>
              <a:rPr lang="sv-SE" sz="20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endParaRPr sz="2000"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2" name="Google Shape;212;p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20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IBD hos vuxna</a:t>
            </a:r>
            <a:endParaRPr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9E055AB5-66F9-43FF-ADD4-7DBB685B52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43296" y="1984235"/>
            <a:ext cx="4694830" cy="33338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204F879-C401-453C-8AD8-1D798C6DA635}"/>
              </a:ext>
            </a:extLst>
          </p:cNvPr>
          <p:cNvSpPr txBox="1"/>
          <p:nvPr/>
        </p:nvSpPr>
        <p:spPr>
          <a:xfrm>
            <a:off x="6880025" y="2255745"/>
            <a:ext cx="4107975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000" marR="0" lvl="0" indent="-1800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Patienten och eventuellt närstående erbjuds information om aktuell sjukdom, behandling och aktuella vårdprocesser</a:t>
            </a:r>
            <a:endParaRPr lang="sv-SE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180000" marR="0" lvl="0" indent="-180000" algn="l" rtl="0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Char char="•"/>
            </a:pPr>
            <a:r>
              <a:rPr lang="sv-SE" sz="2000" dirty="0">
                <a:solidFill>
                  <a:srgbClr val="00000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sym typeface="Calibri"/>
              </a:rPr>
              <a:t>Patienten och eventuellt närstående upplever delaktighet och tilltro till sin egen förmåga att hantera vården av sin sjukdom.</a:t>
            </a:r>
            <a:endParaRPr lang="sv-SE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sv-SE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" name="Google Shape;219;p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70758" y="4771933"/>
            <a:ext cx="2123268" cy="185463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20" name="Google Shape;220;p10"/>
          <p:cNvSpPr txBox="1">
            <a:spLocks noGrp="1"/>
          </p:cNvSpPr>
          <p:nvPr>
            <p:ph type="ctrTitle"/>
          </p:nvPr>
        </p:nvSpPr>
        <p:spPr>
          <a:xfrm>
            <a:off x="826758" y="374298"/>
            <a:ext cx="9144000" cy="609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Calibri"/>
              <a:buNone/>
            </a:pPr>
            <a:r>
              <a:rPr lang="sv-SE"/>
              <a:t>Vårdförloppet innehåller flödesschema och åtgärder </a:t>
            </a:r>
            <a:endParaRPr/>
          </a:p>
        </p:txBody>
      </p:sp>
      <p:sp>
        <p:nvSpPr>
          <p:cNvPr id="221" name="Google Shape;221;p10"/>
          <p:cNvSpPr/>
          <p:nvPr/>
        </p:nvSpPr>
        <p:spPr>
          <a:xfrm>
            <a:off x="826758" y="1483826"/>
            <a:ext cx="2905847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r>
              <a:rPr lang="sv-SE" sz="18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Flödesschema</a:t>
            </a:r>
            <a:endParaRPr/>
          </a:p>
        </p:txBody>
      </p:sp>
      <p:sp>
        <p:nvSpPr>
          <p:cNvPr id="222" name="Google Shape;222;p10"/>
          <p:cNvSpPr/>
          <p:nvPr/>
        </p:nvSpPr>
        <p:spPr>
          <a:xfrm>
            <a:off x="4556854" y="1464197"/>
            <a:ext cx="6336000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</a:pPr>
            <a:r>
              <a:rPr lang="sv-SE" sz="1800" b="1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Åtgärdsblock</a:t>
            </a:r>
            <a:endParaRPr/>
          </a:p>
        </p:txBody>
      </p:sp>
      <p:sp>
        <p:nvSpPr>
          <p:cNvPr id="223" name="Google Shape;223;p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3780561" y="3780377"/>
            <a:ext cx="504000" cy="216000"/>
          </a:xfrm>
          <a:prstGeom prst="leftArrow">
            <a:avLst>
              <a:gd name="adj1" fmla="val 50000"/>
              <a:gd name="adj2" fmla="val 50000"/>
            </a:avLst>
          </a:prstGeom>
          <a:solidFill>
            <a:srgbClr val="75C2BE"/>
          </a:solidFill>
          <a:ln w="12700" cap="flat" cmpd="sng">
            <a:solidFill>
              <a:srgbClr val="377D7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224" name="Google Shape;224;p10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5433427"/>
              </p:ext>
            </p:extLst>
          </p:nvPr>
        </p:nvGraphicFramePr>
        <p:xfrm>
          <a:off x="4572896" y="2052330"/>
          <a:ext cx="6335725" cy="4130550"/>
        </p:xfrm>
        <a:graphic>
          <a:graphicData uri="http://schemas.openxmlformats.org/drawingml/2006/table">
            <a:tbl>
              <a:tblPr firstRow="1" bandRow="1">
                <a:noFill/>
                <a:tableStyleId>{A37E3777-ACA3-4444-AD64-6A46D24F54C1}</a:tableStyleId>
              </a:tblPr>
              <a:tblGrid>
                <a:gridCol w="42181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75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4775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-SE" sz="1600" b="1" u="none" strike="noStrike" cap="none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Hälso- och sjukvårdens åtgärder</a:t>
                      </a:r>
                      <a:endParaRPr sz="16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sv-SE" sz="1600" b="1" u="none" strike="noStrike" cap="none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Patientens åtgärder</a:t>
                      </a:r>
                      <a:endParaRPr sz="1600" u="none" strike="noStrike" cap="none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25775"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None/>
                      </a:pPr>
                      <a:r>
                        <a:rPr lang="sv-SE" sz="1600" b="1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(C) </a:t>
                      </a:r>
                      <a:r>
                        <a:rPr lang="sv-SE" sz="1600" b="1" u="none" strike="noStrike" cap="none" dirty="0" err="1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Ileokoloskopi</a:t>
                      </a:r>
                      <a:endParaRPr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None/>
                      </a:pPr>
                      <a:r>
                        <a:rPr lang="sv-SE" sz="1600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Remissbedömning bör ske inom ett arbetsdygn, därefter skickas kallelse med instruktioner för förberedelser vartefter undersökning sker.</a:t>
                      </a:r>
                      <a:endParaRPr dirty="0"/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sv-SE" sz="1600" u="none" strike="noStrike" cap="none" dirty="0" err="1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Ileokoloskopi</a:t>
                      </a:r>
                      <a:r>
                        <a:rPr lang="sv-SE" sz="1600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med biopsiprovtagning bör genomföras inom två veckor och vid IBD-bild bör inflammationen värderas utifrån SES-CD/UCEIS.</a:t>
                      </a:r>
                      <a:endParaRPr dirty="0"/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sv-SE" sz="1600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Remiss till patolog bör inkludera</a:t>
                      </a:r>
                      <a:endParaRPr dirty="0"/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ourier New"/>
                        <a:buChar char="o"/>
                      </a:pPr>
                      <a:r>
                        <a:rPr lang="sv-SE" sz="1600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ymtom och symtomduration</a:t>
                      </a:r>
                      <a:endParaRPr dirty="0"/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ourier New"/>
                        <a:buChar char="o"/>
                      </a:pPr>
                      <a:r>
                        <a:rPr lang="sv-SE" sz="1600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makroskopisk bild</a:t>
                      </a:r>
                      <a:endParaRPr dirty="0"/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ourier New"/>
                        <a:buChar char="o"/>
                      </a:pPr>
                      <a:r>
                        <a:rPr lang="sv-SE" sz="1600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insatt behandling, inklusive NSAID, och behandlingsduration innan </a:t>
                      </a:r>
                      <a:r>
                        <a:rPr lang="sv-SE" sz="1600" u="none" strike="noStrike" cap="none" dirty="0" err="1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kopi</a:t>
                      </a:r>
                      <a:endParaRPr dirty="0"/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ourier New"/>
                        <a:buChar char="o"/>
                      </a:pPr>
                      <a:r>
                        <a:rPr lang="sv-SE" sz="1600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resultat av </a:t>
                      </a:r>
                      <a:r>
                        <a:rPr lang="sv-SE" sz="1600" u="none" strike="noStrike" cap="none" dirty="0" err="1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eces</a:t>
                      </a:r>
                      <a:r>
                        <a:rPr lang="sv-SE" sz="1600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-prover (F-</a:t>
                      </a:r>
                      <a:r>
                        <a:rPr lang="sv-SE" sz="1600" u="none" strike="noStrike" cap="none" dirty="0" err="1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kalprotektin</a:t>
                      </a:r>
                      <a:r>
                        <a:rPr lang="sv-SE" sz="1600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, F-PCR/odling och F-</a:t>
                      </a:r>
                      <a:r>
                        <a:rPr lang="sv-SE" sz="1600" u="none" strike="noStrike" cap="none" dirty="0" err="1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Clostridioides</a:t>
                      </a:r>
                      <a:r>
                        <a:rPr lang="sv-SE" sz="1600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r>
                        <a:rPr lang="sv-SE" sz="1600" u="none" strike="noStrike" cap="none" dirty="0" err="1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difficile</a:t>
                      </a:r>
                      <a:r>
                        <a:rPr lang="sv-SE" sz="1600" u="none" strike="noStrike" cap="none" dirty="0">
                          <a:solidFill>
                            <a:schemeClr val="dk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).</a:t>
                      </a:r>
                      <a:endParaRPr dirty="0"/>
                    </a:p>
                  </a:txBody>
                  <a:tcPr marL="91450" marR="91450" marT="45725" marB="45725">
                    <a:lnL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None/>
                      </a:pPr>
                      <a:r>
                        <a:rPr lang="sv-SE" sz="1600" u="none" strike="noStrike" cap="none" dirty="0"/>
                        <a:t>Inför mötet: </a:t>
                      </a:r>
                      <a:endParaRPr dirty="0"/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sv-SE" sz="1600" u="none" strike="noStrike" cap="none" dirty="0"/>
                        <a:t>Genomföra förberedelser enligt instruktion från vårdpersonal</a:t>
                      </a:r>
                      <a:endParaRPr dirty="0"/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sv-SE" sz="1600" u="none" strike="noStrike" cap="none" dirty="0"/>
                        <a:t>Kontakta vårdgivare vid problem med att följa instruktionen</a:t>
                      </a:r>
                      <a:endParaRPr dirty="0"/>
                    </a:p>
                    <a:p>
                      <a:pPr marL="0" marR="0" lvl="0" indent="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None/>
                      </a:pPr>
                      <a:r>
                        <a:rPr lang="sv-SE" sz="1600" u="none" strike="noStrike" cap="none" dirty="0"/>
                        <a:t>Efter mötet: </a:t>
                      </a:r>
                      <a:endParaRPr dirty="0"/>
                    </a:p>
                    <a:p>
                      <a:pPr marL="285750" marR="0" lvl="0" indent="-2857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Char char="•"/>
                      </a:pPr>
                      <a:r>
                        <a:rPr lang="sv-SE" sz="1600" u="none" strike="noStrike" cap="none" dirty="0"/>
                        <a:t>Uppmärksamma symtom och kontakta vårdgivare vid behov </a:t>
                      </a:r>
                      <a:endParaRPr dirty="0"/>
                    </a:p>
                    <a:p>
                      <a:pPr marL="285750" marR="0" lvl="0" indent="-184150" algn="l" rtl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Arial"/>
                        <a:buNone/>
                      </a:pPr>
                      <a:endParaRPr sz="1600" u="none" strike="noStrike" cap="none" dirty="0"/>
                    </a:p>
                  </a:txBody>
                  <a:tcPr marL="91450" marR="91450" marT="45725" marB="45725">
                    <a:lnL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chemeClr val="accen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5" name="Google Shape;225;p1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1200">
                <a:solidFill>
                  <a:srgbClr val="A5A5A5"/>
                </a:solidFill>
                <a:latin typeface="Calibri"/>
                <a:ea typeface="Calibri"/>
                <a:cs typeface="Calibri"/>
                <a:sym typeface="Calibri"/>
              </a:rPr>
              <a:t>IBD hos vuxna</a:t>
            </a:r>
            <a:endParaRPr/>
          </a:p>
        </p:txBody>
      </p:sp>
      <p:pic>
        <p:nvPicPr>
          <p:cNvPr id="226" name="Google Shape;226;p10" descr="Bilden visar vårdförloppets flödesschema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88758" y="1947619"/>
            <a:ext cx="2943847" cy="44848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heme/theme1.xml><?xml version="1.0" encoding="utf-8"?>
<a:theme xmlns:a="http://schemas.openxmlformats.org/drawingml/2006/main" name="1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9226E296-3A06-4CC4-8B97-86EDD3B06295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5</TotalTime>
  <Words>1484</Words>
  <Application>Microsoft Office PowerPoint</Application>
  <PresentationFormat>Bredbild</PresentationFormat>
  <Paragraphs>206</Paragraphs>
  <Slides>17</Slides>
  <Notes>17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3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7</vt:i4>
      </vt:variant>
    </vt:vector>
  </HeadingPairs>
  <TitlesOfParts>
    <vt:vector size="25" baseType="lpstr">
      <vt:lpstr>Arial</vt:lpstr>
      <vt:lpstr>Calibri</vt:lpstr>
      <vt:lpstr>Calibri Light</vt:lpstr>
      <vt:lpstr>Courier New</vt:lpstr>
      <vt:lpstr>1_Tema_sveriges_regioner_i_samverkan</vt:lpstr>
      <vt:lpstr>Tema_sveriges_regioner_i_samverkan</vt:lpstr>
      <vt:lpstr>2_Tema_sveriges_regioner_i_samverkan</vt:lpstr>
      <vt:lpstr>think-cell Slide</vt:lpstr>
      <vt:lpstr>PowerPoint-presentation</vt:lpstr>
      <vt:lpstr>Syftet med personcentrerade och sammanhållna vårdförlopp </vt:lpstr>
      <vt:lpstr>Regionerna i samverkan</vt:lpstr>
      <vt:lpstr>Personcentrerat och sammanhållet vårdförlopp för Inflammatorisk tarmsjukdom (IBD) hos vuxna</vt:lpstr>
      <vt:lpstr>Nationell variation</vt:lpstr>
      <vt:lpstr>Vårdförloppet utgår från  tillförlitliga och aktuella kunskapsstöd och baseras på bästa tillgängliga kunskap</vt:lpstr>
      <vt:lpstr>Nulägesbeskrivning ur ett patientperspektiv</vt:lpstr>
      <vt:lpstr>Vårdförloppets mål</vt:lpstr>
      <vt:lpstr>Vårdförloppet innehåller flödesschema och åtgärder </vt:lpstr>
      <vt:lpstr>Vårdförloppet lägger tonvikt på</vt:lpstr>
      <vt:lpstr>Patientkontrakt</vt:lpstr>
      <vt:lpstr>Vad kommer att följas upp (urval)</vt:lpstr>
      <vt:lpstr>Vad blir konsekvenserna?</vt:lpstr>
      <vt:lpstr>Dialog</vt:lpstr>
      <vt:lpstr>Deltagare</vt:lpstr>
      <vt:lpstr>Personcentrerat och sammanhållet vårdförlopp för Inflammatorisk tarmsjukdom (IBD) hos vuxna</vt:lpstr>
      <vt:lpstr>Mer information och stö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Holmström Christina</dc:creator>
  <cp:lastModifiedBy>Björk Staffan</cp:lastModifiedBy>
  <cp:revision>26</cp:revision>
  <dcterms:created xsi:type="dcterms:W3CDTF">2020-05-28T13:45:39Z</dcterms:created>
  <dcterms:modified xsi:type="dcterms:W3CDTF">2022-06-09T08:15:47Z</dcterms:modified>
</cp:coreProperties>
</file>